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av" ContentType="audio/x-wav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07" r:id="rId1"/>
    <p:sldMasterId id="2147484010" r:id="rId2"/>
    <p:sldMasterId id="2147484023" r:id="rId3"/>
  </p:sldMasterIdLst>
  <p:notesMasterIdLst>
    <p:notesMasterId r:id="rId40"/>
  </p:notesMasterIdLst>
  <p:handoutMasterIdLst>
    <p:handoutMasterId r:id="rId41"/>
  </p:handoutMasterIdLst>
  <p:sldIdLst>
    <p:sldId id="407" r:id="rId4"/>
    <p:sldId id="408" r:id="rId5"/>
    <p:sldId id="453" r:id="rId6"/>
    <p:sldId id="454" r:id="rId7"/>
    <p:sldId id="410" r:id="rId8"/>
    <p:sldId id="411" r:id="rId9"/>
    <p:sldId id="413" r:id="rId10"/>
    <p:sldId id="414" r:id="rId11"/>
    <p:sldId id="445" r:id="rId12"/>
    <p:sldId id="447" r:id="rId13"/>
    <p:sldId id="448" r:id="rId14"/>
    <p:sldId id="418" r:id="rId15"/>
    <p:sldId id="419" r:id="rId16"/>
    <p:sldId id="420" r:id="rId17"/>
    <p:sldId id="421" r:id="rId18"/>
    <p:sldId id="422" r:id="rId19"/>
    <p:sldId id="423" r:id="rId20"/>
    <p:sldId id="424" r:id="rId21"/>
    <p:sldId id="425" r:id="rId22"/>
    <p:sldId id="449" r:id="rId23"/>
    <p:sldId id="427" r:id="rId24"/>
    <p:sldId id="429" r:id="rId25"/>
    <p:sldId id="430" r:id="rId26"/>
    <p:sldId id="450" r:id="rId27"/>
    <p:sldId id="432" r:id="rId28"/>
    <p:sldId id="433" r:id="rId29"/>
    <p:sldId id="434" r:id="rId30"/>
    <p:sldId id="451" r:id="rId31"/>
    <p:sldId id="436" r:id="rId32"/>
    <p:sldId id="437" r:id="rId33"/>
    <p:sldId id="438" r:id="rId34"/>
    <p:sldId id="452" r:id="rId35"/>
    <p:sldId id="440" r:id="rId36"/>
    <p:sldId id="441" r:id="rId37"/>
    <p:sldId id="442" r:id="rId38"/>
    <p:sldId id="443" r:id="rId39"/>
  </p:sldIdLst>
  <p:sldSz cx="12192000" cy="6858000"/>
  <p:notesSz cx="7099300" cy="10234613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5pPr>
    <a:lvl6pPr marL="22860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6pPr>
    <a:lvl7pPr marL="27432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7pPr>
    <a:lvl8pPr marL="32004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8pPr>
    <a:lvl9pPr marL="36576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9"/>
    <a:srgbClr val="0000FF"/>
    <a:srgbClr val="0E457D"/>
    <a:srgbClr val="CE4C4B"/>
    <a:srgbClr val="7F7F7F"/>
    <a:srgbClr val="12529F"/>
    <a:srgbClr val="AFAFAF"/>
    <a:srgbClr val="13273C"/>
    <a:srgbClr val="E0E0E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5" autoAdjust="0"/>
    <p:restoredTop sz="94027" autoAdjust="0"/>
  </p:normalViewPr>
  <p:slideViewPr>
    <p:cSldViewPr>
      <p:cViewPr varScale="1">
        <p:scale>
          <a:sx n="114" d="100"/>
          <a:sy n="114" d="100"/>
        </p:scale>
        <p:origin x="300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2076" y="-90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2D069C-11D9-418D-9BA6-DFBB07BE19F3}" type="doc">
      <dgm:prSet loTypeId="urn:microsoft.com/office/officeart/2005/8/layout/vList2" loCatId="list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zh-TW" altLang="en-US"/>
        </a:p>
      </dgm:t>
    </dgm:pt>
    <dgm:pt modelId="{DB00A2D0-8547-44CD-BE35-3807F198ED91}">
      <dgm:prSet custT="1"/>
      <dgm:spPr>
        <a:solidFill>
          <a:srgbClr val="12529F"/>
        </a:solidFill>
      </dgm:spPr>
      <dgm:t>
        <a:bodyPr/>
        <a:lstStyle/>
        <a:p>
          <a:pPr rtl="0"/>
          <a:r>
            <a:rPr lang="en-US" sz="2000" dirty="0"/>
            <a:t>Write your report as early as possible</a:t>
          </a:r>
          <a:endParaRPr lang="zh-TW" sz="2000" dirty="0"/>
        </a:p>
      </dgm:t>
    </dgm:pt>
    <dgm:pt modelId="{928B1E01-7D23-45E8-BEC3-2523E8BD2DBE}" type="parTrans" cxnId="{832112B3-F89B-4D0E-9D3C-2F23260F91D9}">
      <dgm:prSet/>
      <dgm:spPr/>
      <dgm:t>
        <a:bodyPr/>
        <a:lstStyle/>
        <a:p>
          <a:endParaRPr lang="zh-TW" altLang="en-US" sz="2000"/>
        </a:p>
      </dgm:t>
    </dgm:pt>
    <dgm:pt modelId="{229EE95C-D957-4309-B340-4E9F9124B283}" type="sibTrans" cxnId="{832112B3-F89B-4D0E-9D3C-2F23260F91D9}">
      <dgm:prSet/>
      <dgm:spPr/>
      <dgm:t>
        <a:bodyPr/>
        <a:lstStyle/>
        <a:p>
          <a:endParaRPr lang="zh-TW" altLang="en-US" sz="2000"/>
        </a:p>
      </dgm:t>
    </dgm:pt>
    <dgm:pt modelId="{7B5EB5BA-630A-4FCE-8131-2BA8EE6371A6}">
      <dgm:prSet custT="1"/>
      <dgm:spPr>
        <a:solidFill>
          <a:srgbClr val="7F7F7F"/>
        </a:solidFill>
      </dgm:spPr>
      <dgm:t>
        <a:bodyPr/>
        <a:lstStyle/>
        <a:p>
          <a:pPr rtl="0"/>
          <a:r>
            <a:rPr lang="en-US" sz="2000" dirty="0"/>
            <a:t>You do not need to know everything</a:t>
          </a:r>
          <a:endParaRPr lang="zh-TW" sz="2000" dirty="0"/>
        </a:p>
      </dgm:t>
    </dgm:pt>
    <dgm:pt modelId="{C6CE0E4C-85E6-43C7-81E6-71FFDC5614E2}" type="parTrans" cxnId="{1AD22B38-2EB6-43DC-868D-37A3C583F1B3}">
      <dgm:prSet/>
      <dgm:spPr/>
      <dgm:t>
        <a:bodyPr/>
        <a:lstStyle/>
        <a:p>
          <a:endParaRPr lang="zh-TW" altLang="en-US" sz="2000"/>
        </a:p>
      </dgm:t>
    </dgm:pt>
    <dgm:pt modelId="{57ACF63A-E7FD-453C-B70C-ECBD4AD01DF5}" type="sibTrans" cxnId="{1AD22B38-2EB6-43DC-868D-37A3C583F1B3}">
      <dgm:prSet/>
      <dgm:spPr/>
      <dgm:t>
        <a:bodyPr/>
        <a:lstStyle/>
        <a:p>
          <a:endParaRPr lang="zh-TW" altLang="en-US" sz="2000"/>
        </a:p>
      </dgm:t>
    </dgm:pt>
    <dgm:pt modelId="{0B3BD774-8CF4-4BF8-B62D-254DD936E801}">
      <dgm:prSet custT="1"/>
      <dgm:spPr/>
      <dgm:t>
        <a:bodyPr/>
        <a:lstStyle/>
        <a:p>
          <a:pPr rtl="0"/>
          <a:r>
            <a:rPr lang="en-US" sz="2000" dirty="0"/>
            <a:t>Using </a:t>
          </a:r>
          <a:r>
            <a:rPr lang="en-US" sz="2000" dirty="0" err="1"/>
            <a:t>Matlab</a:t>
          </a:r>
          <a:r>
            <a:rPr lang="en-US" sz="2000" dirty="0"/>
            <a:t> toolbox and Google</a:t>
          </a:r>
          <a:endParaRPr lang="zh-TW" sz="2000" dirty="0"/>
        </a:p>
      </dgm:t>
    </dgm:pt>
    <dgm:pt modelId="{A0885BC0-43F0-4DBA-8F54-C25C34D5223E}" type="parTrans" cxnId="{028B6BCD-E96F-4D4B-8D94-D5D23A1B2DC8}">
      <dgm:prSet/>
      <dgm:spPr/>
      <dgm:t>
        <a:bodyPr/>
        <a:lstStyle/>
        <a:p>
          <a:endParaRPr lang="zh-TW" altLang="en-US" sz="2000"/>
        </a:p>
      </dgm:t>
    </dgm:pt>
    <dgm:pt modelId="{071B613F-C7BF-4F13-ADB2-A5DDE380A475}" type="sibTrans" cxnId="{028B6BCD-E96F-4D4B-8D94-D5D23A1B2DC8}">
      <dgm:prSet/>
      <dgm:spPr/>
      <dgm:t>
        <a:bodyPr/>
        <a:lstStyle/>
        <a:p>
          <a:endParaRPr lang="zh-TW" altLang="en-US" sz="2000"/>
        </a:p>
      </dgm:t>
    </dgm:pt>
    <dgm:pt modelId="{9A37A5AD-3820-485F-BED6-DD049EAEC751}">
      <dgm:prSet custT="1"/>
      <dgm:spPr>
        <a:solidFill>
          <a:srgbClr val="12529F"/>
        </a:solidFill>
      </dgm:spPr>
      <dgm:t>
        <a:bodyPr/>
        <a:lstStyle/>
        <a:p>
          <a:pPr rtl="0"/>
          <a:r>
            <a:rPr lang="en-US" sz="2000" dirty="0"/>
            <a:t>TAs will provide some tools latter</a:t>
          </a:r>
          <a:endParaRPr lang="zh-TW" sz="2000" dirty="0"/>
        </a:p>
      </dgm:t>
    </dgm:pt>
    <dgm:pt modelId="{929C9FB1-DB37-4BDE-943A-B136A44E1436}" type="parTrans" cxnId="{5949F3FA-06FE-47B0-9ADB-B1AF5F6B2A31}">
      <dgm:prSet/>
      <dgm:spPr/>
      <dgm:t>
        <a:bodyPr/>
        <a:lstStyle/>
        <a:p>
          <a:endParaRPr lang="zh-TW" altLang="en-US" sz="2000"/>
        </a:p>
      </dgm:t>
    </dgm:pt>
    <dgm:pt modelId="{38D9B0C8-2734-4A2D-BFC8-F3BB702F630C}" type="sibTrans" cxnId="{5949F3FA-06FE-47B0-9ADB-B1AF5F6B2A31}">
      <dgm:prSet/>
      <dgm:spPr/>
      <dgm:t>
        <a:bodyPr/>
        <a:lstStyle/>
        <a:p>
          <a:endParaRPr lang="zh-TW" altLang="en-US" sz="2000"/>
        </a:p>
      </dgm:t>
    </dgm:pt>
    <dgm:pt modelId="{89BE2E6A-FDBF-4926-B386-A41F0DA927D5}">
      <dgm:prSet custT="1"/>
      <dgm:spPr/>
      <dgm:t>
        <a:bodyPr/>
        <a:lstStyle/>
        <a:p>
          <a:pPr rtl="0"/>
          <a:r>
            <a:rPr lang="en-US" sz="2000" dirty="0"/>
            <a:t>Basic </a:t>
          </a:r>
          <a:r>
            <a:rPr lang="en-US" sz="2000" dirty="0" err="1"/>
            <a:t>matlab</a:t>
          </a:r>
          <a:r>
            <a:rPr lang="en-US" sz="2000" dirty="0"/>
            <a:t> codes: add noise, wiener filter</a:t>
          </a:r>
          <a:endParaRPr lang="zh-TW" sz="2000" dirty="0"/>
        </a:p>
      </dgm:t>
    </dgm:pt>
    <dgm:pt modelId="{987080A7-20FA-4BBC-BFDC-53B1B3730D29}" type="parTrans" cxnId="{6EB28DD5-B595-4A7D-8372-C10FD8D9AA39}">
      <dgm:prSet/>
      <dgm:spPr/>
      <dgm:t>
        <a:bodyPr/>
        <a:lstStyle/>
        <a:p>
          <a:endParaRPr lang="zh-TW" altLang="en-US" sz="2000"/>
        </a:p>
      </dgm:t>
    </dgm:pt>
    <dgm:pt modelId="{633D7081-ADEC-4E0B-AECD-F528A5823B6E}" type="sibTrans" cxnId="{6EB28DD5-B595-4A7D-8372-C10FD8D9AA39}">
      <dgm:prSet/>
      <dgm:spPr/>
      <dgm:t>
        <a:bodyPr/>
        <a:lstStyle/>
        <a:p>
          <a:endParaRPr lang="zh-TW" altLang="en-US" sz="2000"/>
        </a:p>
      </dgm:t>
    </dgm:pt>
    <dgm:pt modelId="{E8B93759-E738-47FA-AC5C-522C670ACAAB}">
      <dgm:prSet custT="1"/>
      <dgm:spPr>
        <a:solidFill>
          <a:srgbClr val="7F7F7F"/>
        </a:solidFill>
      </dgm:spPr>
      <dgm:t>
        <a:bodyPr/>
        <a:lstStyle/>
        <a:p>
          <a:pPr rtl="0"/>
          <a:r>
            <a:rPr lang="en-US" altLang="zh-TW" sz="2000" dirty="0"/>
            <a:t>Don't belittle yourself </a:t>
          </a:r>
          <a:endParaRPr lang="zh-TW" sz="2000" dirty="0"/>
        </a:p>
      </dgm:t>
    </dgm:pt>
    <dgm:pt modelId="{5D11E289-5630-43D9-829A-F24CC7FE59AE}" type="parTrans" cxnId="{72EBFBA6-4DC6-4DCD-947F-1B7839AFA186}">
      <dgm:prSet/>
      <dgm:spPr/>
      <dgm:t>
        <a:bodyPr/>
        <a:lstStyle/>
        <a:p>
          <a:endParaRPr lang="zh-TW" altLang="en-US" sz="2000"/>
        </a:p>
      </dgm:t>
    </dgm:pt>
    <dgm:pt modelId="{573E94E9-5456-4EFC-A562-80B7E2F88874}" type="sibTrans" cxnId="{72EBFBA6-4DC6-4DCD-947F-1B7839AFA186}">
      <dgm:prSet/>
      <dgm:spPr/>
      <dgm:t>
        <a:bodyPr/>
        <a:lstStyle/>
        <a:p>
          <a:endParaRPr lang="zh-TW" altLang="en-US" sz="2000"/>
        </a:p>
      </dgm:t>
    </dgm:pt>
    <dgm:pt modelId="{C4184519-E801-4F07-90BD-F4C448C261D0}">
      <dgm:prSet custT="1"/>
      <dgm:spPr/>
      <dgm:t>
        <a:bodyPr/>
        <a:lstStyle/>
        <a:p>
          <a:pPr rtl="0"/>
          <a:r>
            <a:rPr lang="en-US" altLang="zh-TW" sz="2000" dirty="0"/>
            <a:t>be an creator,  not a follower</a:t>
          </a:r>
          <a:endParaRPr lang="zh-TW" sz="2000" dirty="0"/>
        </a:p>
      </dgm:t>
    </dgm:pt>
    <dgm:pt modelId="{14BB33D1-FFC0-4B84-9D1E-8EFBFAB37AAA}" type="parTrans" cxnId="{FAAEE9CD-8C5A-4D32-A13E-61A16397B15A}">
      <dgm:prSet/>
      <dgm:spPr/>
      <dgm:t>
        <a:bodyPr/>
        <a:lstStyle/>
        <a:p>
          <a:endParaRPr lang="zh-TW" altLang="en-US" sz="2000"/>
        </a:p>
      </dgm:t>
    </dgm:pt>
    <dgm:pt modelId="{3A438803-C0B6-4977-9E58-2CC69A04DC0D}" type="sibTrans" cxnId="{FAAEE9CD-8C5A-4D32-A13E-61A16397B15A}">
      <dgm:prSet/>
      <dgm:spPr/>
      <dgm:t>
        <a:bodyPr/>
        <a:lstStyle/>
        <a:p>
          <a:endParaRPr lang="zh-TW" altLang="en-US" sz="2000"/>
        </a:p>
      </dgm:t>
    </dgm:pt>
    <dgm:pt modelId="{19B9BA64-7877-4953-952C-92783EB5A1DB}">
      <dgm:prSet custT="1"/>
      <dgm:spPr/>
      <dgm:t>
        <a:bodyPr/>
        <a:lstStyle/>
        <a:p>
          <a:pPr rtl="0"/>
          <a:r>
            <a:rPr lang="en-US" altLang="zh-TW" sz="2000" dirty="0"/>
            <a:t>Be brave, and welcome to real-world problems</a:t>
          </a:r>
          <a:endParaRPr lang="zh-TW" sz="2000" dirty="0"/>
        </a:p>
      </dgm:t>
    </dgm:pt>
    <dgm:pt modelId="{35330807-4BEC-4602-A5CB-FF0381ED868A}" type="parTrans" cxnId="{DF208DD2-FF7B-41D9-B1DB-1F9AFBC8D918}">
      <dgm:prSet/>
      <dgm:spPr/>
      <dgm:t>
        <a:bodyPr/>
        <a:lstStyle/>
        <a:p>
          <a:endParaRPr lang="zh-TW" altLang="en-US" sz="2000"/>
        </a:p>
      </dgm:t>
    </dgm:pt>
    <dgm:pt modelId="{3C1B04EA-E901-4AEB-A5B5-CB1BF3C45B92}" type="sibTrans" cxnId="{DF208DD2-FF7B-41D9-B1DB-1F9AFBC8D918}">
      <dgm:prSet/>
      <dgm:spPr/>
      <dgm:t>
        <a:bodyPr/>
        <a:lstStyle/>
        <a:p>
          <a:endParaRPr lang="zh-TW" altLang="en-US" sz="2000"/>
        </a:p>
      </dgm:t>
    </dgm:pt>
    <dgm:pt modelId="{F668C110-AF86-4C98-AA2B-F8EB56F84F45}">
      <dgm:prSet custT="1"/>
      <dgm:spPr>
        <a:solidFill>
          <a:srgbClr val="12529F"/>
        </a:solidFill>
      </dgm:spPr>
      <dgm:t>
        <a:bodyPr/>
        <a:lstStyle/>
        <a:p>
          <a:pPr rtl="0"/>
          <a:r>
            <a:rPr lang="en-US" altLang="zh-TW" sz="2000" dirty="0"/>
            <a:t>Enjoy this journey and appreciate your feedback  </a:t>
          </a:r>
          <a:endParaRPr lang="zh-TW" sz="2000" dirty="0"/>
        </a:p>
      </dgm:t>
    </dgm:pt>
    <dgm:pt modelId="{39312DBE-EEF9-4E9A-AF5D-895FD4DA827C}" type="parTrans" cxnId="{DF56A3F4-D2B5-4FFE-BBF5-0959C6780E35}">
      <dgm:prSet/>
      <dgm:spPr/>
      <dgm:t>
        <a:bodyPr/>
        <a:lstStyle/>
        <a:p>
          <a:endParaRPr lang="zh-TW" altLang="en-US" sz="2000"/>
        </a:p>
      </dgm:t>
    </dgm:pt>
    <dgm:pt modelId="{0054E4E1-3ED7-4369-A054-97D1B88193E9}" type="sibTrans" cxnId="{DF56A3F4-D2B5-4FFE-BBF5-0959C6780E35}">
      <dgm:prSet/>
      <dgm:spPr/>
      <dgm:t>
        <a:bodyPr/>
        <a:lstStyle/>
        <a:p>
          <a:endParaRPr lang="zh-TW" altLang="en-US" sz="2000"/>
        </a:p>
      </dgm:t>
    </dgm:pt>
    <dgm:pt modelId="{54BEA8D1-85BF-4A5C-BF99-864B566878A8}" type="pres">
      <dgm:prSet presAssocID="{502D069C-11D9-418D-9BA6-DFBB07BE19F3}" presName="linear" presStyleCnt="0">
        <dgm:presLayoutVars>
          <dgm:animLvl val="lvl"/>
          <dgm:resizeHandles val="exact"/>
        </dgm:presLayoutVars>
      </dgm:prSet>
      <dgm:spPr/>
    </dgm:pt>
    <dgm:pt modelId="{11444279-EE03-4C71-9896-6BB14EF37A27}" type="pres">
      <dgm:prSet presAssocID="{DB00A2D0-8547-44CD-BE35-3807F198ED91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C64A6B2A-4036-4D4E-98AD-D32BF74285A6}" type="pres">
      <dgm:prSet presAssocID="{DB00A2D0-8547-44CD-BE35-3807F198ED91}" presName="childText" presStyleLbl="revTx" presStyleIdx="0" presStyleCnt="4">
        <dgm:presLayoutVars>
          <dgm:bulletEnabled val="1"/>
        </dgm:presLayoutVars>
      </dgm:prSet>
      <dgm:spPr/>
    </dgm:pt>
    <dgm:pt modelId="{2BF1FBBC-4374-4550-A551-4851A77A19A4}" type="pres">
      <dgm:prSet presAssocID="{7B5EB5BA-630A-4FCE-8131-2BA8EE6371A6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1EED8B67-2AC6-47EE-8916-AFA6157B1E68}" type="pres">
      <dgm:prSet presAssocID="{7B5EB5BA-630A-4FCE-8131-2BA8EE6371A6}" presName="childText" presStyleLbl="revTx" presStyleIdx="1" presStyleCnt="4">
        <dgm:presLayoutVars>
          <dgm:bulletEnabled val="1"/>
        </dgm:presLayoutVars>
      </dgm:prSet>
      <dgm:spPr/>
    </dgm:pt>
    <dgm:pt modelId="{5CEDA528-C216-43A0-B457-BB85C6A23E89}" type="pres">
      <dgm:prSet presAssocID="{9A37A5AD-3820-485F-BED6-DD049EAEC751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CF73CBB7-C017-4E98-8033-F1FD9181A794}" type="pres">
      <dgm:prSet presAssocID="{9A37A5AD-3820-485F-BED6-DD049EAEC751}" presName="childText" presStyleLbl="revTx" presStyleIdx="2" presStyleCnt="4">
        <dgm:presLayoutVars>
          <dgm:bulletEnabled val="1"/>
        </dgm:presLayoutVars>
      </dgm:prSet>
      <dgm:spPr/>
    </dgm:pt>
    <dgm:pt modelId="{13C16E5C-7138-4861-A9BD-1FA0664B5761}" type="pres">
      <dgm:prSet presAssocID="{E8B93759-E738-47FA-AC5C-522C670ACAAB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11FDBEA8-8CBC-419D-92A4-9A73D6160592}" type="pres">
      <dgm:prSet presAssocID="{E8B93759-E738-47FA-AC5C-522C670ACAAB}" presName="childText" presStyleLbl="revTx" presStyleIdx="3" presStyleCnt="4">
        <dgm:presLayoutVars>
          <dgm:bulletEnabled val="1"/>
        </dgm:presLayoutVars>
      </dgm:prSet>
      <dgm:spPr/>
    </dgm:pt>
    <dgm:pt modelId="{10CB06B0-5C53-4123-B4D5-E2904765A17A}" type="pres">
      <dgm:prSet presAssocID="{F668C110-AF86-4C98-AA2B-F8EB56F84F45}" presName="parentText" presStyleLbl="node1" presStyleIdx="4" presStyleCnt="5" custLinFactNeighborY="5362">
        <dgm:presLayoutVars>
          <dgm:chMax val="0"/>
          <dgm:bulletEnabled val="1"/>
        </dgm:presLayoutVars>
      </dgm:prSet>
      <dgm:spPr/>
    </dgm:pt>
  </dgm:ptLst>
  <dgm:cxnLst>
    <dgm:cxn modelId="{43301823-C8B8-4099-BF73-92BA818011FC}" type="presOf" srcId="{0B3BD774-8CF4-4BF8-B62D-254DD936E801}" destId="{1EED8B67-2AC6-47EE-8916-AFA6157B1E68}" srcOrd="0" destOrd="0" presId="urn:microsoft.com/office/officeart/2005/8/layout/vList2"/>
    <dgm:cxn modelId="{1AD22B38-2EB6-43DC-868D-37A3C583F1B3}" srcId="{502D069C-11D9-418D-9BA6-DFBB07BE19F3}" destId="{7B5EB5BA-630A-4FCE-8131-2BA8EE6371A6}" srcOrd="1" destOrd="0" parTransId="{C6CE0E4C-85E6-43C7-81E6-71FFDC5614E2}" sibTransId="{57ACF63A-E7FD-453C-B70C-ECBD4AD01DF5}"/>
    <dgm:cxn modelId="{A3F35740-6C3C-47AD-BBF9-3326DC276E89}" type="presOf" srcId="{DB00A2D0-8547-44CD-BE35-3807F198ED91}" destId="{11444279-EE03-4C71-9896-6BB14EF37A27}" srcOrd="0" destOrd="0" presId="urn:microsoft.com/office/officeart/2005/8/layout/vList2"/>
    <dgm:cxn modelId="{A1A2DB60-19C8-4CB9-80D0-30BD7DDBAFA0}" type="presOf" srcId="{89BE2E6A-FDBF-4926-B386-A41F0DA927D5}" destId="{CF73CBB7-C017-4E98-8033-F1FD9181A794}" srcOrd="0" destOrd="0" presId="urn:microsoft.com/office/officeart/2005/8/layout/vList2"/>
    <dgm:cxn modelId="{50B0104E-E35F-417B-8BE5-90637797F0A7}" type="presOf" srcId="{7B5EB5BA-630A-4FCE-8131-2BA8EE6371A6}" destId="{2BF1FBBC-4374-4550-A551-4851A77A19A4}" srcOrd="0" destOrd="0" presId="urn:microsoft.com/office/officeart/2005/8/layout/vList2"/>
    <dgm:cxn modelId="{72EBFBA6-4DC6-4DCD-947F-1B7839AFA186}" srcId="{502D069C-11D9-418D-9BA6-DFBB07BE19F3}" destId="{E8B93759-E738-47FA-AC5C-522C670ACAAB}" srcOrd="3" destOrd="0" parTransId="{5D11E289-5630-43D9-829A-F24CC7FE59AE}" sibTransId="{573E94E9-5456-4EFC-A562-80B7E2F88874}"/>
    <dgm:cxn modelId="{C2AE4DB1-49CA-4732-9BE2-7707F45353B6}" type="presOf" srcId="{C4184519-E801-4F07-90BD-F4C448C261D0}" destId="{C64A6B2A-4036-4D4E-98AD-D32BF74285A6}" srcOrd="0" destOrd="0" presId="urn:microsoft.com/office/officeart/2005/8/layout/vList2"/>
    <dgm:cxn modelId="{832112B3-F89B-4D0E-9D3C-2F23260F91D9}" srcId="{502D069C-11D9-418D-9BA6-DFBB07BE19F3}" destId="{DB00A2D0-8547-44CD-BE35-3807F198ED91}" srcOrd="0" destOrd="0" parTransId="{928B1E01-7D23-45E8-BEC3-2523E8BD2DBE}" sibTransId="{229EE95C-D957-4309-B340-4E9F9124B283}"/>
    <dgm:cxn modelId="{53F8D5B7-4617-4129-9775-4EE613C29DF7}" type="presOf" srcId="{9A37A5AD-3820-485F-BED6-DD049EAEC751}" destId="{5CEDA528-C216-43A0-B457-BB85C6A23E89}" srcOrd="0" destOrd="0" presId="urn:microsoft.com/office/officeart/2005/8/layout/vList2"/>
    <dgm:cxn modelId="{EF4EB7C5-AAC8-40B6-90F5-F7C94A6ACEEE}" type="presOf" srcId="{19B9BA64-7877-4953-952C-92783EB5A1DB}" destId="{11FDBEA8-8CBC-419D-92A4-9A73D6160592}" srcOrd="0" destOrd="0" presId="urn:microsoft.com/office/officeart/2005/8/layout/vList2"/>
    <dgm:cxn modelId="{028B6BCD-E96F-4D4B-8D94-D5D23A1B2DC8}" srcId="{7B5EB5BA-630A-4FCE-8131-2BA8EE6371A6}" destId="{0B3BD774-8CF4-4BF8-B62D-254DD936E801}" srcOrd="0" destOrd="0" parTransId="{A0885BC0-43F0-4DBA-8F54-C25C34D5223E}" sibTransId="{071B613F-C7BF-4F13-ADB2-A5DDE380A475}"/>
    <dgm:cxn modelId="{FAAEE9CD-8C5A-4D32-A13E-61A16397B15A}" srcId="{DB00A2D0-8547-44CD-BE35-3807F198ED91}" destId="{C4184519-E801-4F07-90BD-F4C448C261D0}" srcOrd="0" destOrd="0" parTransId="{14BB33D1-FFC0-4B84-9D1E-8EFBFAB37AAA}" sibTransId="{3A438803-C0B6-4977-9E58-2CC69A04DC0D}"/>
    <dgm:cxn modelId="{DF208DD2-FF7B-41D9-B1DB-1F9AFBC8D918}" srcId="{E8B93759-E738-47FA-AC5C-522C670ACAAB}" destId="{19B9BA64-7877-4953-952C-92783EB5A1DB}" srcOrd="0" destOrd="0" parTransId="{35330807-4BEC-4602-A5CB-FF0381ED868A}" sibTransId="{3C1B04EA-E901-4AEB-A5B5-CB1BF3C45B92}"/>
    <dgm:cxn modelId="{6EB28DD5-B595-4A7D-8372-C10FD8D9AA39}" srcId="{9A37A5AD-3820-485F-BED6-DD049EAEC751}" destId="{89BE2E6A-FDBF-4926-B386-A41F0DA927D5}" srcOrd="0" destOrd="0" parTransId="{987080A7-20FA-4BBC-BFDC-53B1B3730D29}" sibTransId="{633D7081-ADEC-4E0B-AECD-F528A5823B6E}"/>
    <dgm:cxn modelId="{A095A8E1-41B4-414E-B0C7-8EE51EDABE6E}" type="presOf" srcId="{E8B93759-E738-47FA-AC5C-522C670ACAAB}" destId="{13C16E5C-7138-4861-A9BD-1FA0664B5761}" srcOrd="0" destOrd="0" presId="urn:microsoft.com/office/officeart/2005/8/layout/vList2"/>
    <dgm:cxn modelId="{649E46E8-1DF1-4D60-A9F6-8DC2B286AC35}" type="presOf" srcId="{502D069C-11D9-418D-9BA6-DFBB07BE19F3}" destId="{54BEA8D1-85BF-4A5C-BF99-864B566878A8}" srcOrd="0" destOrd="0" presId="urn:microsoft.com/office/officeart/2005/8/layout/vList2"/>
    <dgm:cxn modelId="{8C3388F1-9D91-42D8-BE63-57B82B6CBD50}" type="presOf" srcId="{F668C110-AF86-4C98-AA2B-F8EB56F84F45}" destId="{10CB06B0-5C53-4123-B4D5-E2904765A17A}" srcOrd="0" destOrd="0" presId="urn:microsoft.com/office/officeart/2005/8/layout/vList2"/>
    <dgm:cxn modelId="{DF56A3F4-D2B5-4FFE-BBF5-0959C6780E35}" srcId="{502D069C-11D9-418D-9BA6-DFBB07BE19F3}" destId="{F668C110-AF86-4C98-AA2B-F8EB56F84F45}" srcOrd="4" destOrd="0" parTransId="{39312DBE-EEF9-4E9A-AF5D-895FD4DA827C}" sibTransId="{0054E4E1-3ED7-4369-A054-97D1B88193E9}"/>
    <dgm:cxn modelId="{5949F3FA-06FE-47B0-9ADB-B1AF5F6B2A31}" srcId="{502D069C-11D9-418D-9BA6-DFBB07BE19F3}" destId="{9A37A5AD-3820-485F-BED6-DD049EAEC751}" srcOrd="2" destOrd="0" parTransId="{929C9FB1-DB37-4BDE-943A-B136A44E1436}" sibTransId="{38D9B0C8-2734-4A2D-BFC8-F3BB702F630C}"/>
    <dgm:cxn modelId="{DDD69BDB-7FD3-4110-8BA7-0624CBC064E3}" type="presParOf" srcId="{54BEA8D1-85BF-4A5C-BF99-864B566878A8}" destId="{11444279-EE03-4C71-9896-6BB14EF37A27}" srcOrd="0" destOrd="0" presId="urn:microsoft.com/office/officeart/2005/8/layout/vList2"/>
    <dgm:cxn modelId="{725E6D5C-7DEE-4D12-82FF-D27B785E2A6F}" type="presParOf" srcId="{54BEA8D1-85BF-4A5C-BF99-864B566878A8}" destId="{C64A6B2A-4036-4D4E-98AD-D32BF74285A6}" srcOrd="1" destOrd="0" presId="urn:microsoft.com/office/officeart/2005/8/layout/vList2"/>
    <dgm:cxn modelId="{E3B8845F-6CBB-4F35-AD7B-1750A45FF88D}" type="presParOf" srcId="{54BEA8D1-85BF-4A5C-BF99-864B566878A8}" destId="{2BF1FBBC-4374-4550-A551-4851A77A19A4}" srcOrd="2" destOrd="0" presId="urn:microsoft.com/office/officeart/2005/8/layout/vList2"/>
    <dgm:cxn modelId="{351F12F9-3DC8-4A9A-A2BD-D81D126884B5}" type="presParOf" srcId="{54BEA8D1-85BF-4A5C-BF99-864B566878A8}" destId="{1EED8B67-2AC6-47EE-8916-AFA6157B1E68}" srcOrd="3" destOrd="0" presId="urn:microsoft.com/office/officeart/2005/8/layout/vList2"/>
    <dgm:cxn modelId="{4750E621-4F72-45A1-B3F3-50E5FE59B2BC}" type="presParOf" srcId="{54BEA8D1-85BF-4A5C-BF99-864B566878A8}" destId="{5CEDA528-C216-43A0-B457-BB85C6A23E89}" srcOrd="4" destOrd="0" presId="urn:microsoft.com/office/officeart/2005/8/layout/vList2"/>
    <dgm:cxn modelId="{D0C40B8C-EFE0-4A99-A461-CFBCAEE12E30}" type="presParOf" srcId="{54BEA8D1-85BF-4A5C-BF99-864B566878A8}" destId="{CF73CBB7-C017-4E98-8033-F1FD9181A794}" srcOrd="5" destOrd="0" presId="urn:microsoft.com/office/officeart/2005/8/layout/vList2"/>
    <dgm:cxn modelId="{536BF89A-C67D-4C09-9E60-2E126B23E47F}" type="presParOf" srcId="{54BEA8D1-85BF-4A5C-BF99-864B566878A8}" destId="{13C16E5C-7138-4861-A9BD-1FA0664B5761}" srcOrd="6" destOrd="0" presId="urn:microsoft.com/office/officeart/2005/8/layout/vList2"/>
    <dgm:cxn modelId="{78AA718B-0B7E-42BF-AC79-A96668425A52}" type="presParOf" srcId="{54BEA8D1-85BF-4A5C-BF99-864B566878A8}" destId="{11FDBEA8-8CBC-419D-92A4-9A73D6160592}" srcOrd="7" destOrd="0" presId="urn:microsoft.com/office/officeart/2005/8/layout/vList2"/>
    <dgm:cxn modelId="{72636701-9552-406C-AC60-F3CB01CD3B18}" type="presParOf" srcId="{54BEA8D1-85BF-4A5C-BF99-864B566878A8}" destId="{10CB06B0-5C53-4123-B4D5-E2904765A17A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444279-EE03-4C71-9896-6BB14EF37A27}">
      <dsp:nvSpPr>
        <dsp:cNvPr id="0" name=""/>
        <dsp:cNvSpPr/>
      </dsp:nvSpPr>
      <dsp:spPr>
        <a:xfrm>
          <a:off x="0" y="2699"/>
          <a:ext cx="7497762" cy="561600"/>
        </a:xfrm>
        <a:prstGeom prst="roundRect">
          <a:avLst/>
        </a:prstGeom>
        <a:solidFill>
          <a:srgbClr val="12529F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Write your report as early as possible</a:t>
          </a:r>
          <a:endParaRPr lang="zh-TW" sz="2000" kern="1200" dirty="0"/>
        </a:p>
      </dsp:txBody>
      <dsp:txXfrm>
        <a:off x="27415" y="30114"/>
        <a:ext cx="7442932" cy="506770"/>
      </dsp:txXfrm>
    </dsp:sp>
    <dsp:sp modelId="{C64A6B2A-4036-4D4E-98AD-D32BF74285A6}">
      <dsp:nvSpPr>
        <dsp:cNvPr id="0" name=""/>
        <dsp:cNvSpPr/>
      </dsp:nvSpPr>
      <dsp:spPr>
        <a:xfrm>
          <a:off x="0" y="564299"/>
          <a:ext cx="7497762" cy="496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8054" tIns="25400" rIns="142240" bIns="2540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altLang="zh-TW" sz="2000" kern="1200" dirty="0"/>
            <a:t>be an creator,  not a follower</a:t>
          </a:r>
          <a:endParaRPr lang="zh-TW" sz="2000" kern="1200" dirty="0"/>
        </a:p>
      </dsp:txBody>
      <dsp:txXfrm>
        <a:off x="0" y="564299"/>
        <a:ext cx="7497762" cy="496800"/>
      </dsp:txXfrm>
    </dsp:sp>
    <dsp:sp modelId="{2BF1FBBC-4374-4550-A551-4851A77A19A4}">
      <dsp:nvSpPr>
        <dsp:cNvPr id="0" name=""/>
        <dsp:cNvSpPr/>
      </dsp:nvSpPr>
      <dsp:spPr>
        <a:xfrm>
          <a:off x="0" y="1061099"/>
          <a:ext cx="7497762" cy="561600"/>
        </a:xfrm>
        <a:prstGeom prst="roundRect">
          <a:avLst/>
        </a:prstGeom>
        <a:solidFill>
          <a:srgbClr val="7F7F7F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You do not need to know everything</a:t>
          </a:r>
          <a:endParaRPr lang="zh-TW" sz="2000" kern="1200" dirty="0"/>
        </a:p>
      </dsp:txBody>
      <dsp:txXfrm>
        <a:off x="27415" y="1088514"/>
        <a:ext cx="7442932" cy="506770"/>
      </dsp:txXfrm>
    </dsp:sp>
    <dsp:sp modelId="{1EED8B67-2AC6-47EE-8916-AFA6157B1E68}">
      <dsp:nvSpPr>
        <dsp:cNvPr id="0" name=""/>
        <dsp:cNvSpPr/>
      </dsp:nvSpPr>
      <dsp:spPr>
        <a:xfrm>
          <a:off x="0" y="1622699"/>
          <a:ext cx="7497762" cy="496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8054" tIns="25400" rIns="142240" bIns="2540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 dirty="0"/>
            <a:t>Using </a:t>
          </a:r>
          <a:r>
            <a:rPr lang="en-US" sz="2000" kern="1200" dirty="0" err="1"/>
            <a:t>Matlab</a:t>
          </a:r>
          <a:r>
            <a:rPr lang="en-US" sz="2000" kern="1200" dirty="0"/>
            <a:t> toolbox and Google</a:t>
          </a:r>
          <a:endParaRPr lang="zh-TW" sz="2000" kern="1200" dirty="0"/>
        </a:p>
      </dsp:txBody>
      <dsp:txXfrm>
        <a:off x="0" y="1622699"/>
        <a:ext cx="7497762" cy="496800"/>
      </dsp:txXfrm>
    </dsp:sp>
    <dsp:sp modelId="{5CEDA528-C216-43A0-B457-BB85C6A23E89}">
      <dsp:nvSpPr>
        <dsp:cNvPr id="0" name=""/>
        <dsp:cNvSpPr/>
      </dsp:nvSpPr>
      <dsp:spPr>
        <a:xfrm>
          <a:off x="0" y="2119499"/>
          <a:ext cx="7497762" cy="561600"/>
        </a:xfrm>
        <a:prstGeom prst="roundRect">
          <a:avLst/>
        </a:prstGeom>
        <a:solidFill>
          <a:srgbClr val="12529F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TAs will provide some tools latter</a:t>
          </a:r>
          <a:endParaRPr lang="zh-TW" sz="2000" kern="1200" dirty="0"/>
        </a:p>
      </dsp:txBody>
      <dsp:txXfrm>
        <a:off x="27415" y="2146914"/>
        <a:ext cx="7442932" cy="506770"/>
      </dsp:txXfrm>
    </dsp:sp>
    <dsp:sp modelId="{CF73CBB7-C017-4E98-8033-F1FD9181A794}">
      <dsp:nvSpPr>
        <dsp:cNvPr id="0" name=""/>
        <dsp:cNvSpPr/>
      </dsp:nvSpPr>
      <dsp:spPr>
        <a:xfrm>
          <a:off x="0" y="2681099"/>
          <a:ext cx="7497762" cy="496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8054" tIns="25400" rIns="142240" bIns="2540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 dirty="0"/>
            <a:t>Basic </a:t>
          </a:r>
          <a:r>
            <a:rPr lang="en-US" sz="2000" kern="1200" dirty="0" err="1"/>
            <a:t>matlab</a:t>
          </a:r>
          <a:r>
            <a:rPr lang="en-US" sz="2000" kern="1200" dirty="0"/>
            <a:t> codes: add noise, wiener filter</a:t>
          </a:r>
          <a:endParaRPr lang="zh-TW" sz="2000" kern="1200" dirty="0"/>
        </a:p>
      </dsp:txBody>
      <dsp:txXfrm>
        <a:off x="0" y="2681099"/>
        <a:ext cx="7497762" cy="496800"/>
      </dsp:txXfrm>
    </dsp:sp>
    <dsp:sp modelId="{13C16E5C-7138-4861-A9BD-1FA0664B5761}">
      <dsp:nvSpPr>
        <dsp:cNvPr id="0" name=""/>
        <dsp:cNvSpPr/>
      </dsp:nvSpPr>
      <dsp:spPr>
        <a:xfrm>
          <a:off x="0" y="3177899"/>
          <a:ext cx="7497762" cy="561600"/>
        </a:xfrm>
        <a:prstGeom prst="roundRect">
          <a:avLst/>
        </a:prstGeom>
        <a:solidFill>
          <a:srgbClr val="7F7F7F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TW" sz="2000" kern="1200" dirty="0"/>
            <a:t>Don't belittle yourself </a:t>
          </a:r>
          <a:endParaRPr lang="zh-TW" sz="2000" kern="1200" dirty="0"/>
        </a:p>
      </dsp:txBody>
      <dsp:txXfrm>
        <a:off x="27415" y="3205314"/>
        <a:ext cx="7442932" cy="506770"/>
      </dsp:txXfrm>
    </dsp:sp>
    <dsp:sp modelId="{11FDBEA8-8CBC-419D-92A4-9A73D6160592}">
      <dsp:nvSpPr>
        <dsp:cNvPr id="0" name=""/>
        <dsp:cNvSpPr/>
      </dsp:nvSpPr>
      <dsp:spPr>
        <a:xfrm>
          <a:off x="0" y="3739500"/>
          <a:ext cx="7497762" cy="496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8054" tIns="25400" rIns="142240" bIns="2540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altLang="zh-TW" sz="2000" kern="1200" dirty="0"/>
            <a:t>Be brave, and welcome to real-world problems</a:t>
          </a:r>
          <a:endParaRPr lang="zh-TW" sz="2000" kern="1200" dirty="0"/>
        </a:p>
      </dsp:txBody>
      <dsp:txXfrm>
        <a:off x="0" y="3739500"/>
        <a:ext cx="7497762" cy="496800"/>
      </dsp:txXfrm>
    </dsp:sp>
    <dsp:sp modelId="{10CB06B0-5C53-4123-B4D5-E2904765A17A}">
      <dsp:nvSpPr>
        <dsp:cNvPr id="0" name=""/>
        <dsp:cNvSpPr/>
      </dsp:nvSpPr>
      <dsp:spPr>
        <a:xfrm>
          <a:off x="0" y="4238999"/>
          <a:ext cx="7497762" cy="561600"/>
        </a:xfrm>
        <a:prstGeom prst="roundRect">
          <a:avLst/>
        </a:prstGeom>
        <a:solidFill>
          <a:srgbClr val="12529F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TW" sz="2000" kern="1200" dirty="0"/>
            <a:t>Enjoy this journey and appreciate your feedback  </a:t>
          </a:r>
          <a:endParaRPr lang="zh-TW" sz="2000" kern="1200" dirty="0"/>
        </a:p>
      </dsp:txBody>
      <dsp:txXfrm>
        <a:off x="27415" y="4266414"/>
        <a:ext cx="7442932" cy="5067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300">
                <a:ea typeface="新細明體" pitchFamily="18" charset="-120"/>
              </a:defRPr>
            </a:lvl1pPr>
          </a:lstStyle>
          <a:p>
            <a:pPr>
              <a:defRPr/>
            </a:pPr>
            <a:r>
              <a:rPr lang="zh-TW" altLang="en-US" dirty="0">
                <a:latin typeface="Arial" panose="020B0604020202020204" pitchFamily="34" charset="0"/>
              </a:rPr>
              <a:t>楊尚峰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56743" y="0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>
              <a:latin typeface="Arial" panose="020B0604020202020204" pitchFamily="34" charset="0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09052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300">
                <a:ea typeface="新細明體" pitchFamily="18" charset="-120"/>
              </a:defRPr>
            </a:lvl1pPr>
          </a:lstStyle>
          <a:p>
            <a:pPr>
              <a:defRPr/>
            </a:pPr>
            <a:r>
              <a:rPr lang="en-US" altLang="zh-TW" dirty="0" err="1">
                <a:latin typeface="Arial" panose="020B0604020202020204" pitchFamily="34" charset="0"/>
              </a:rPr>
              <a:t>Matlab</a:t>
            </a:r>
            <a:r>
              <a:rPr lang="en-US" altLang="zh-TW" dirty="0">
                <a:latin typeface="Arial" panose="020B0604020202020204" pitchFamily="34" charset="0"/>
              </a:rPr>
              <a:t> </a:t>
            </a:r>
            <a:r>
              <a:rPr lang="zh-TW" altLang="en-US" dirty="0">
                <a:latin typeface="Arial" panose="020B0604020202020204" pitchFamily="34" charset="0"/>
              </a:rPr>
              <a:t>簡介</a:t>
            </a: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56743" y="9709052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ea typeface="新細明體" pitchFamily="18" charset="-120"/>
              </a:defRPr>
            </a:lvl1pPr>
          </a:lstStyle>
          <a:p>
            <a:pPr>
              <a:defRPr/>
            </a:pPr>
            <a:fld id="{FC87EB3B-6E22-4901-A3A3-B25238DF1E21}" type="slidenum">
              <a:rPr lang="zh-TW" altLang="en-US">
                <a:latin typeface="Arial" panose="020B0604020202020204" pitchFamily="34" charset="0"/>
              </a:rPr>
              <a:pPr>
                <a:defRPr/>
              </a:pPr>
              <a:t>‹#›</a:t>
            </a:fld>
            <a:endParaRPr lang="en-US" altLang="zh-TW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88824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Rectangle 8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>
            <a:lvl1pPr eaLnBrk="1" hangingPunct="1">
              <a:defRPr kumimoji="0" sz="1300">
                <a:latin typeface="Arial" panose="020B0604020202020204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93187" name="Rectangle 9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82550" y="746125"/>
            <a:ext cx="6934200" cy="39004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58" name="Rectangle 10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6172" y="4896018"/>
            <a:ext cx="5226957" cy="4564084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noProof="0" dirty="0"/>
              <a:t>按一下以編輯母片文字樣式</a:t>
            </a:r>
          </a:p>
          <a:p>
            <a:pPr lvl="1"/>
            <a:r>
              <a:rPr lang="zh-TW" altLang="en-US" noProof="0" dirty="0"/>
              <a:t>第二層</a:t>
            </a:r>
          </a:p>
          <a:p>
            <a:pPr lvl="2"/>
            <a:r>
              <a:rPr lang="zh-TW" altLang="en-US" noProof="0" dirty="0"/>
              <a:t>第三層</a:t>
            </a:r>
          </a:p>
          <a:p>
            <a:pPr lvl="3"/>
            <a:r>
              <a:rPr lang="zh-TW" altLang="en-US" noProof="0" dirty="0"/>
              <a:t>第四層</a:t>
            </a:r>
          </a:p>
          <a:p>
            <a:pPr lvl="4"/>
            <a:r>
              <a:rPr lang="zh-TW" altLang="en-US" noProof="0" dirty="0"/>
              <a:t>第五層</a:t>
            </a:r>
            <a:endParaRPr lang="zh-TW" altLang="zh-TW" noProof="0" dirty="0"/>
          </a:p>
        </p:txBody>
      </p:sp>
      <p:sp>
        <p:nvSpPr>
          <p:cNvPr id="2059" name="Rectangle 11"/>
          <p:cNvSpPr>
            <a:spLocks noGrp="1" noChangeArrowheads="1"/>
          </p:cNvSpPr>
          <p:nvPr>
            <p:ph type="dt" idx="1"/>
          </p:nvPr>
        </p:nvSpPr>
        <p:spPr bwMode="auto">
          <a:xfrm>
            <a:off x="4056743" y="0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300">
                <a:latin typeface="Arial" panose="020B0604020202020204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2060" name="Rectangle 12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09052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300">
                <a:latin typeface="Arial" panose="020B0604020202020204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2061" name="Rectangle 13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56743" y="9709052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300">
                <a:latin typeface="Arial" panose="020B0604020202020204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9E74AC7C-CC5D-4B84-B1B5-64107E70B8E7}" type="slidenum">
              <a:rPr lang="zh-TW" altLang="en-US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732326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新細明體" pitchFamily="18" charset="-120"/>
        <a:cs typeface="+mn-cs"/>
      </a:defRPr>
    </a:lvl1pPr>
    <a:lvl2pPr marL="461963"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新細明體" pitchFamily="18" charset="-120"/>
        <a:cs typeface="+mn-cs"/>
      </a:defRPr>
    </a:lvl2pPr>
    <a:lvl3pPr marL="923925"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新細明體" pitchFamily="18" charset="-120"/>
        <a:cs typeface="+mn-cs"/>
      </a:defRPr>
    </a:lvl3pPr>
    <a:lvl4pPr marL="1387475"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新細明體" pitchFamily="18" charset="-120"/>
        <a:cs typeface="+mn-cs"/>
      </a:defRPr>
    </a:lvl4pPr>
    <a:lvl5pPr marL="1849438"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新細明體" pitchFamily="18" charset="-12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ECE8-890C-4BBB-AF2F-271BBD77CA83}" type="slidenum">
              <a:rPr lang="zh-TW" altLang="en-US" smtClean="0"/>
              <a:pPr/>
              <a:t>3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329870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My singing is not bad</a:t>
            </a:r>
          </a:p>
          <a:p>
            <a:r>
              <a:rPr lang="en-US" altLang="zh-TW" dirty="0"/>
              <a:t>Or my singing will become noise and remove</a:t>
            </a:r>
            <a:r>
              <a:rPr lang="en-US" altLang="zh-TW" baseline="0" dirty="0"/>
              <a:t>d out 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03F772D-7FE6-4D25-AD80-FF899BF08D20}" type="slidenum">
              <a:rPr lang="en-US" altLang="zh-TW" smtClean="0"/>
              <a:pPr>
                <a:defRPr/>
              </a:pPr>
              <a:t>17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810625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EBAAD8-47F5-4377-B9D2-B1B3BC4D9B91}" type="slidenum">
              <a:rPr lang="zh-TW" altLang="en-US" smtClean="0"/>
              <a:pPr/>
              <a:t>23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5117987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任意多边形: 形状 3">
            <a:extLst>
              <a:ext uri="{FF2B5EF4-FFF2-40B4-BE49-F238E27FC236}">
                <a16:creationId xmlns:a16="http://schemas.microsoft.com/office/drawing/2014/main" id="{06520DCF-DA61-4D14-AE07-15B7F11C9D32}"/>
              </a:ext>
            </a:extLst>
          </p:cNvPr>
          <p:cNvSpPr/>
          <p:nvPr userDrawn="1"/>
        </p:nvSpPr>
        <p:spPr>
          <a:xfrm>
            <a:off x="-3175" y="-3175"/>
            <a:ext cx="12198350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12" name="任意多边形: 形状 4">
            <a:extLst>
              <a:ext uri="{FF2B5EF4-FFF2-40B4-BE49-F238E27FC236}">
                <a16:creationId xmlns:a16="http://schemas.microsoft.com/office/drawing/2014/main" id="{C5E579F9-9089-46E8-880D-9A5453E7D2E7}"/>
              </a:ext>
            </a:extLst>
          </p:cNvPr>
          <p:cNvSpPr/>
          <p:nvPr userDrawn="1"/>
        </p:nvSpPr>
        <p:spPr>
          <a:xfrm>
            <a:off x="5273293" y="-3175"/>
            <a:ext cx="6921500" cy="6864350"/>
          </a:xfrm>
          <a:custGeom>
            <a:avLst/>
            <a:gdLst>
              <a:gd name="connsiteX0" fmla="*/ 5248657 w 6921500"/>
              <a:gd name="connsiteY0" fmla="*/ 1030605 h 6864350"/>
              <a:gd name="connsiteX1" fmla="*/ 72137 w 6921500"/>
              <a:gd name="connsiteY1" fmla="*/ 6324600 h 6864350"/>
              <a:gd name="connsiteX2" fmla="*/ 3557 w 6921500"/>
              <a:gd name="connsiteY2" fmla="*/ 6861175 h 6864350"/>
              <a:gd name="connsiteX3" fmla="*/ 6918707 w 6921500"/>
              <a:gd name="connsiteY3" fmla="*/ 6861175 h 6864350"/>
              <a:gd name="connsiteX4" fmla="*/ 6918707 w 6921500"/>
              <a:gd name="connsiteY4" fmla="*/ 3175 h 6864350"/>
              <a:gd name="connsiteX5" fmla="*/ 5663313 w 6921500"/>
              <a:gd name="connsiteY5" fmla="*/ 3175 h 6864350"/>
              <a:gd name="connsiteX6" fmla="*/ 5248657 w 6921500"/>
              <a:gd name="connsiteY6" fmla="*/ 103060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1500" h="6864350">
                <a:moveTo>
                  <a:pt x="5248657" y="1030605"/>
                </a:moveTo>
                <a:cubicBezTo>
                  <a:pt x="4744467" y="1462405"/>
                  <a:pt x="72137" y="6324600"/>
                  <a:pt x="72137" y="6324600"/>
                </a:cubicBezTo>
                <a:cubicBezTo>
                  <a:pt x="72137" y="6324600"/>
                  <a:pt x="-2793" y="6593206"/>
                  <a:pt x="3557" y="6861175"/>
                </a:cubicBezTo>
                <a:lnTo>
                  <a:pt x="6918707" y="6861175"/>
                </a:lnTo>
                <a:lnTo>
                  <a:pt x="6918707" y="3175"/>
                </a:lnTo>
                <a:lnTo>
                  <a:pt x="5663313" y="3175"/>
                </a:lnTo>
                <a:cubicBezTo>
                  <a:pt x="5655692" y="276225"/>
                  <a:pt x="5587747" y="740410"/>
                  <a:pt x="5248657" y="1030605"/>
                </a:cubicBezTo>
                <a:close/>
              </a:path>
            </a:pathLst>
          </a:custGeom>
          <a:solidFill>
            <a:srgbClr val="8FBFF9">
              <a:lumMod val="60000"/>
              <a:lumOff val="4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13" name="任意多边形: 形状 5">
            <a:extLst>
              <a:ext uri="{FF2B5EF4-FFF2-40B4-BE49-F238E27FC236}">
                <a16:creationId xmlns:a16="http://schemas.microsoft.com/office/drawing/2014/main" id="{B022E879-35B8-4679-A9A8-63D3D4401CE2}"/>
              </a:ext>
            </a:extLst>
          </p:cNvPr>
          <p:cNvSpPr/>
          <p:nvPr userDrawn="1"/>
        </p:nvSpPr>
        <p:spPr>
          <a:xfrm>
            <a:off x="-3175" y="-3175"/>
            <a:ext cx="4114800" cy="3454400"/>
          </a:xfrm>
          <a:custGeom>
            <a:avLst/>
            <a:gdLst>
              <a:gd name="connsiteX0" fmla="*/ 3175 w 4114800"/>
              <a:gd name="connsiteY0" fmla="*/ 3449320 h 3454400"/>
              <a:gd name="connsiteX1" fmla="*/ 661670 w 4114800"/>
              <a:gd name="connsiteY1" fmla="*/ 2989580 h 3454400"/>
              <a:gd name="connsiteX2" fmla="*/ 2552065 w 4114800"/>
              <a:gd name="connsiteY2" fmla="*/ 1466850 h 3454400"/>
              <a:gd name="connsiteX3" fmla="*/ 4074795 w 4114800"/>
              <a:gd name="connsiteY3" fmla="*/ 626745 h 3454400"/>
              <a:gd name="connsiteX4" fmla="*/ 3412490 w 4114800"/>
              <a:gd name="connsiteY4" fmla="*/ 3175 h 3454400"/>
              <a:gd name="connsiteX5" fmla="*/ 3175 w 4114800"/>
              <a:gd name="connsiteY5" fmla="*/ 3175 h 3454400"/>
              <a:gd name="connsiteX6" fmla="*/ 3175 w 4114800"/>
              <a:gd name="connsiteY6" fmla="*/ 3449320 h 345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4800" h="3454400">
                <a:moveTo>
                  <a:pt x="3175" y="3449320"/>
                </a:moveTo>
                <a:cubicBezTo>
                  <a:pt x="214630" y="3479165"/>
                  <a:pt x="483235" y="3389630"/>
                  <a:pt x="661670" y="2989580"/>
                </a:cubicBezTo>
                <a:cubicBezTo>
                  <a:pt x="1082040" y="2044065"/>
                  <a:pt x="1869440" y="1203960"/>
                  <a:pt x="2552065" y="1466850"/>
                </a:cubicBezTo>
                <a:cubicBezTo>
                  <a:pt x="3234690" y="1729740"/>
                  <a:pt x="4337685" y="1414145"/>
                  <a:pt x="4074795" y="626745"/>
                </a:cubicBezTo>
                <a:cubicBezTo>
                  <a:pt x="3990340" y="370205"/>
                  <a:pt x="3728085" y="164465"/>
                  <a:pt x="3412490" y="3175"/>
                </a:cubicBezTo>
                <a:lnTo>
                  <a:pt x="3175" y="3175"/>
                </a:lnTo>
                <a:lnTo>
                  <a:pt x="3175" y="3449320"/>
                </a:lnTo>
                <a:close/>
              </a:path>
            </a:pathLst>
          </a:custGeom>
          <a:solidFill>
            <a:srgbClr val="C1DC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14" name="任意多边形: 形状 6">
            <a:extLst>
              <a:ext uri="{FF2B5EF4-FFF2-40B4-BE49-F238E27FC236}">
                <a16:creationId xmlns:a16="http://schemas.microsoft.com/office/drawing/2014/main" id="{FD3C3680-6920-403D-BF86-14398F569C70}"/>
              </a:ext>
            </a:extLst>
          </p:cNvPr>
          <p:cNvSpPr/>
          <p:nvPr userDrawn="1"/>
        </p:nvSpPr>
        <p:spPr>
          <a:xfrm>
            <a:off x="-3175" y="-3175"/>
            <a:ext cx="3454400" cy="2876550"/>
          </a:xfrm>
          <a:custGeom>
            <a:avLst/>
            <a:gdLst>
              <a:gd name="connsiteX0" fmla="*/ 3175 w 3454400"/>
              <a:gd name="connsiteY0" fmla="*/ 2875280 h 2876550"/>
              <a:gd name="connsiteX1" fmla="*/ 511175 w 3454400"/>
              <a:gd name="connsiteY1" fmla="*/ 2478405 h 2876550"/>
              <a:gd name="connsiteX2" fmla="*/ 2123440 w 3454400"/>
              <a:gd name="connsiteY2" fmla="*/ 1179830 h 2876550"/>
              <a:gd name="connsiteX3" fmla="*/ 3422015 w 3454400"/>
              <a:gd name="connsiteY3" fmla="*/ 463550 h 2876550"/>
              <a:gd name="connsiteX4" fmla="*/ 2985135 w 3454400"/>
              <a:gd name="connsiteY4" fmla="*/ 3175 h 2876550"/>
              <a:gd name="connsiteX5" fmla="*/ 3175 w 3454400"/>
              <a:gd name="connsiteY5" fmla="*/ 3175 h 2876550"/>
              <a:gd name="connsiteX6" fmla="*/ 3175 w 3454400"/>
              <a:gd name="connsiteY6" fmla="*/ 2875280 h 287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54400" h="2876550">
                <a:moveTo>
                  <a:pt x="3175" y="2875280"/>
                </a:moveTo>
                <a:cubicBezTo>
                  <a:pt x="167005" y="2876550"/>
                  <a:pt x="375285" y="2783205"/>
                  <a:pt x="511175" y="2478405"/>
                </a:cubicBezTo>
                <a:cubicBezTo>
                  <a:pt x="869315" y="1672590"/>
                  <a:pt x="1541145" y="955675"/>
                  <a:pt x="2123440" y="1179830"/>
                </a:cubicBezTo>
                <a:cubicBezTo>
                  <a:pt x="2705735" y="1403985"/>
                  <a:pt x="3646170" y="1134745"/>
                  <a:pt x="3422015" y="463550"/>
                </a:cubicBezTo>
                <a:cubicBezTo>
                  <a:pt x="3361055" y="281305"/>
                  <a:pt x="3194685" y="128905"/>
                  <a:pt x="2985135" y="3175"/>
                </a:cubicBezTo>
                <a:lnTo>
                  <a:pt x="3175" y="3175"/>
                </a:lnTo>
                <a:lnTo>
                  <a:pt x="3175" y="2875280"/>
                </a:lnTo>
                <a:close/>
              </a:path>
            </a:pathLst>
          </a:custGeom>
          <a:solidFill>
            <a:srgbClr val="A8BF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15" name="任意多边形: 形状 7">
            <a:extLst>
              <a:ext uri="{FF2B5EF4-FFF2-40B4-BE49-F238E27FC236}">
                <a16:creationId xmlns:a16="http://schemas.microsoft.com/office/drawing/2014/main" id="{09B0EA7E-BB83-4657-94D9-2C3B9030ACD3}"/>
              </a:ext>
            </a:extLst>
          </p:cNvPr>
          <p:cNvSpPr/>
          <p:nvPr userDrawn="1"/>
        </p:nvSpPr>
        <p:spPr>
          <a:xfrm>
            <a:off x="717550" y="533400"/>
            <a:ext cx="10756900" cy="5791200"/>
          </a:xfrm>
          <a:prstGeom prst="roundRect">
            <a:avLst>
              <a:gd name="adj" fmla="val 3885"/>
            </a:avLst>
          </a:prstGeom>
          <a:solidFill>
            <a:srgbClr val="FFFFFF"/>
          </a:solidFill>
          <a:ln w="6350" cap="flat">
            <a:noFill/>
            <a:prstDash val="solid"/>
            <a:miter/>
          </a:ln>
          <a:effectLst>
            <a:outerShdw blurRad="228600" dist="38100" dir="2700000" algn="tl" rotWithShape="0">
              <a:schemeClr val="accent1">
                <a:lumMod val="60000"/>
                <a:lumOff val="40000"/>
                <a:alpha val="26000"/>
              </a:scheme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20" name="任意多边形: 形状 9852">
            <a:extLst>
              <a:ext uri="{FF2B5EF4-FFF2-40B4-BE49-F238E27FC236}">
                <a16:creationId xmlns:a16="http://schemas.microsoft.com/office/drawing/2014/main" id="{5768ACB9-8152-46E7-9094-AF576368C7BC}"/>
              </a:ext>
            </a:extLst>
          </p:cNvPr>
          <p:cNvSpPr/>
          <p:nvPr userDrawn="1"/>
        </p:nvSpPr>
        <p:spPr>
          <a:xfrm>
            <a:off x="717550" y="533400"/>
            <a:ext cx="3390900" cy="2317750"/>
          </a:xfrm>
          <a:custGeom>
            <a:avLst/>
            <a:gdLst>
              <a:gd name="connsiteX0" fmla="*/ 3175 w 3390900"/>
              <a:gd name="connsiteY0" fmla="*/ 2318385 h 2317750"/>
              <a:gd name="connsiteX1" fmla="*/ 1831340 w 3390900"/>
              <a:gd name="connsiteY1" fmla="*/ 929640 h 2317750"/>
              <a:gd name="connsiteX2" fmla="*/ 3354070 w 3390900"/>
              <a:gd name="connsiteY2" fmla="*/ 89535 h 2317750"/>
              <a:gd name="connsiteX3" fmla="*/ 3317875 w 3390900"/>
              <a:gd name="connsiteY3" fmla="*/ 3175 h 2317750"/>
              <a:gd name="connsiteX4" fmla="*/ 3175 w 3390900"/>
              <a:gd name="connsiteY4" fmla="*/ 3175 h 2317750"/>
              <a:gd name="connsiteX5" fmla="*/ 3175 w 3390900"/>
              <a:gd name="connsiteY5" fmla="*/ 2318385 h 23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90900" h="2317750">
                <a:moveTo>
                  <a:pt x="3175" y="2318385"/>
                </a:moveTo>
                <a:cubicBezTo>
                  <a:pt x="435610" y="1430020"/>
                  <a:pt x="1181100" y="679450"/>
                  <a:pt x="1831340" y="929640"/>
                </a:cubicBezTo>
                <a:cubicBezTo>
                  <a:pt x="2513965" y="1192530"/>
                  <a:pt x="3616960" y="876935"/>
                  <a:pt x="3354070" y="89535"/>
                </a:cubicBezTo>
                <a:cubicBezTo>
                  <a:pt x="3344545" y="60325"/>
                  <a:pt x="3331845" y="31115"/>
                  <a:pt x="3317875" y="3175"/>
                </a:cubicBezTo>
                <a:lnTo>
                  <a:pt x="3175" y="3175"/>
                </a:lnTo>
                <a:lnTo>
                  <a:pt x="3175" y="2318385"/>
                </a:lnTo>
                <a:close/>
              </a:path>
            </a:pathLst>
          </a:custGeom>
          <a:solidFill>
            <a:srgbClr val="C1DC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21" name="任意多边形: 形状 9853">
            <a:extLst>
              <a:ext uri="{FF2B5EF4-FFF2-40B4-BE49-F238E27FC236}">
                <a16:creationId xmlns:a16="http://schemas.microsoft.com/office/drawing/2014/main" id="{1D6433B4-443D-497B-B60E-9CFC49A0DFCD}"/>
              </a:ext>
            </a:extLst>
          </p:cNvPr>
          <p:cNvSpPr/>
          <p:nvPr userDrawn="1"/>
        </p:nvSpPr>
        <p:spPr>
          <a:xfrm>
            <a:off x="717550" y="533400"/>
            <a:ext cx="2736850" cy="1536700"/>
          </a:xfrm>
          <a:custGeom>
            <a:avLst/>
            <a:gdLst>
              <a:gd name="connsiteX0" fmla="*/ 3175 w 2736850"/>
              <a:gd name="connsiteY0" fmla="*/ 1534160 h 1536700"/>
              <a:gd name="connsiteX1" fmla="*/ 1402080 w 2736850"/>
              <a:gd name="connsiteY1" fmla="*/ 643255 h 1536700"/>
              <a:gd name="connsiteX2" fmla="*/ 2721610 w 2736850"/>
              <a:gd name="connsiteY2" fmla="*/ 3175 h 1536700"/>
              <a:gd name="connsiteX3" fmla="*/ 3175 w 2736850"/>
              <a:gd name="connsiteY3" fmla="*/ 3175 h 1536700"/>
              <a:gd name="connsiteX4" fmla="*/ 3175 w 2736850"/>
              <a:gd name="connsiteY4" fmla="*/ 1534160 h 153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36850" h="1536700">
                <a:moveTo>
                  <a:pt x="3175" y="1534160"/>
                </a:moveTo>
                <a:cubicBezTo>
                  <a:pt x="379095" y="915035"/>
                  <a:pt x="921385" y="458470"/>
                  <a:pt x="1402080" y="643255"/>
                </a:cubicBezTo>
                <a:cubicBezTo>
                  <a:pt x="1961515" y="858520"/>
                  <a:pt x="2852420" y="618490"/>
                  <a:pt x="2721610" y="3175"/>
                </a:cubicBezTo>
                <a:lnTo>
                  <a:pt x="3175" y="3175"/>
                </a:lnTo>
                <a:lnTo>
                  <a:pt x="3175" y="1534160"/>
                </a:lnTo>
                <a:close/>
              </a:path>
            </a:pathLst>
          </a:custGeom>
          <a:solidFill>
            <a:srgbClr val="ABC2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383699" y="1835871"/>
            <a:ext cx="5470981" cy="128908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rgbClr val="0E457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83698" y="3152811"/>
            <a:ext cx="5844995" cy="42570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0E457D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83698" y="4484238"/>
            <a:ext cx="2315101" cy="258922"/>
          </a:xfrm>
          <a:prstGeom prst="roundRect">
            <a:avLst>
              <a:gd name="adj" fmla="val 43154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83699" y="4854433"/>
            <a:ext cx="5844996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0E457D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702F86C1-24CD-49C9-B4DA-98D45882771F}"/>
              </a:ext>
            </a:extLst>
          </p:cNvPr>
          <p:cNvGrpSpPr/>
          <p:nvPr userDrawn="1"/>
        </p:nvGrpSpPr>
        <p:grpSpPr>
          <a:xfrm>
            <a:off x="5889782" y="893221"/>
            <a:ext cx="5228505" cy="5016206"/>
            <a:chOff x="5889782" y="893221"/>
            <a:chExt cx="5228505" cy="5016206"/>
          </a:xfrm>
        </p:grpSpPr>
        <p:sp>
          <p:nvSpPr>
            <p:cNvPr id="1128" name="îṣḷïde">
              <a:extLst>
                <a:ext uri="{FF2B5EF4-FFF2-40B4-BE49-F238E27FC236}">
                  <a16:creationId xmlns:a16="http://schemas.microsoft.com/office/drawing/2014/main" id="{0BAACA35-B8F5-49E4-BDF2-28AD92F51B89}"/>
                </a:ext>
              </a:extLst>
            </p:cNvPr>
            <p:cNvSpPr/>
            <p:nvPr userDrawn="1"/>
          </p:nvSpPr>
          <p:spPr bwMode="auto">
            <a:xfrm>
              <a:off x="6241970" y="2667325"/>
              <a:ext cx="648420" cy="1525598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29" name="ïšḻíḍê">
              <a:extLst>
                <a:ext uri="{FF2B5EF4-FFF2-40B4-BE49-F238E27FC236}">
                  <a16:creationId xmlns:a16="http://schemas.microsoft.com/office/drawing/2014/main" id="{51781B7F-5616-415D-B826-A2DBE6904BE6}"/>
                </a:ext>
              </a:extLst>
            </p:cNvPr>
            <p:cNvSpPr/>
            <p:nvPr userDrawn="1"/>
          </p:nvSpPr>
          <p:spPr bwMode="auto">
            <a:xfrm>
              <a:off x="6783417" y="2667325"/>
              <a:ext cx="106973" cy="255090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0" name="íšḷiḑe">
              <a:extLst>
                <a:ext uri="{FF2B5EF4-FFF2-40B4-BE49-F238E27FC236}">
                  <a16:creationId xmlns:a16="http://schemas.microsoft.com/office/drawing/2014/main" id="{36D4FDD1-D4E5-4DCD-B2B0-AA38156B2677}"/>
                </a:ext>
              </a:extLst>
            </p:cNvPr>
            <p:cNvSpPr/>
            <p:nvPr userDrawn="1"/>
          </p:nvSpPr>
          <p:spPr bwMode="auto">
            <a:xfrm>
              <a:off x="8944269" y="1284906"/>
              <a:ext cx="1456477" cy="1454831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1" name="îṩ1iḑé">
              <a:extLst>
                <a:ext uri="{FF2B5EF4-FFF2-40B4-BE49-F238E27FC236}">
                  <a16:creationId xmlns:a16="http://schemas.microsoft.com/office/drawing/2014/main" id="{EB56D6B5-B21E-4122-A4AE-60BD6B59BB85}"/>
                </a:ext>
              </a:extLst>
            </p:cNvPr>
            <p:cNvSpPr/>
            <p:nvPr userDrawn="1"/>
          </p:nvSpPr>
          <p:spPr bwMode="auto">
            <a:xfrm>
              <a:off x="10476450" y="1681529"/>
              <a:ext cx="641837" cy="641837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2" name="ïṧ1îďê">
              <a:extLst>
                <a:ext uri="{FF2B5EF4-FFF2-40B4-BE49-F238E27FC236}">
                  <a16:creationId xmlns:a16="http://schemas.microsoft.com/office/drawing/2014/main" id="{980274B5-FEE3-4ADA-B6E6-89346A994BEF}"/>
                </a:ext>
              </a:extLst>
            </p:cNvPr>
            <p:cNvSpPr/>
            <p:nvPr userDrawn="1"/>
          </p:nvSpPr>
          <p:spPr bwMode="auto">
            <a:xfrm>
              <a:off x="8132921" y="893221"/>
              <a:ext cx="947944" cy="944653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3" name="íşlïďê">
              <a:extLst>
                <a:ext uri="{FF2B5EF4-FFF2-40B4-BE49-F238E27FC236}">
                  <a16:creationId xmlns:a16="http://schemas.microsoft.com/office/drawing/2014/main" id="{85DB3A15-AB74-4EC4-89E1-54F8EC958C30}"/>
                </a:ext>
              </a:extLst>
            </p:cNvPr>
            <p:cNvSpPr/>
            <p:nvPr userDrawn="1"/>
          </p:nvSpPr>
          <p:spPr bwMode="auto">
            <a:xfrm>
              <a:off x="5889782" y="4192923"/>
              <a:ext cx="5045828" cy="130014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4" name="íśḷïdè">
              <a:extLst>
                <a:ext uri="{FF2B5EF4-FFF2-40B4-BE49-F238E27FC236}">
                  <a16:creationId xmlns:a16="http://schemas.microsoft.com/office/drawing/2014/main" id="{DF070FDD-3B3F-42A2-9C90-11DE14A3DA5C}"/>
                </a:ext>
              </a:extLst>
            </p:cNvPr>
            <p:cNvSpPr/>
            <p:nvPr userDrawn="1"/>
          </p:nvSpPr>
          <p:spPr bwMode="auto">
            <a:xfrm>
              <a:off x="5893073" y="4285085"/>
              <a:ext cx="5037600" cy="37852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5" name="îṥlïḋê">
              <a:extLst>
                <a:ext uri="{FF2B5EF4-FFF2-40B4-BE49-F238E27FC236}">
                  <a16:creationId xmlns:a16="http://schemas.microsoft.com/office/drawing/2014/main" id="{5AA64555-A021-4CA7-A924-45D5A726CC58}"/>
                </a:ext>
              </a:extLst>
            </p:cNvPr>
            <p:cNvSpPr/>
            <p:nvPr userDrawn="1"/>
          </p:nvSpPr>
          <p:spPr bwMode="auto">
            <a:xfrm>
              <a:off x="7403859" y="4123802"/>
              <a:ext cx="1823476" cy="69121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6" name="îṣľíḑê">
              <a:extLst>
                <a:ext uri="{FF2B5EF4-FFF2-40B4-BE49-F238E27FC236}">
                  <a16:creationId xmlns:a16="http://schemas.microsoft.com/office/drawing/2014/main" id="{6FB22006-4AD4-4B3C-8AE3-96A4C69E8CA9}"/>
                </a:ext>
              </a:extLst>
            </p:cNvPr>
            <p:cNvSpPr/>
            <p:nvPr userDrawn="1"/>
          </p:nvSpPr>
          <p:spPr bwMode="auto">
            <a:xfrm>
              <a:off x="7589828" y="4123802"/>
              <a:ext cx="1823476" cy="69121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7" name="iṩ1idè">
              <a:extLst>
                <a:ext uri="{FF2B5EF4-FFF2-40B4-BE49-F238E27FC236}">
                  <a16:creationId xmlns:a16="http://schemas.microsoft.com/office/drawing/2014/main" id="{14D09A72-7FDC-4DF1-9BB5-DD2BDB039053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826768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3E47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9" name="ïŝḻïḓè">
              <a:extLst>
                <a:ext uri="{FF2B5EF4-FFF2-40B4-BE49-F238E27FC236}">
                  <a16:creationId xmlns:a16="http://schemas.microsoft.com/office/drawing/2014/main" id="{C3DB54A8-9D12-4E09-8326-69DA8BA64F54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90905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0" name="íṧľîḑe">
              <a:extLst>
                <a:ext uri="{FF2B5EF4-FFF2-40B4-BE49-F238E27FC236}">
                  <a16:creationId xmlns:a16="http://schemas.microsoft.com/office/drawing/2014/main" id="{D06E1C7D-10B1-46DD-8837-D0D9ED23AF29}"/>
                </a:ext>
              </a:extLst>
            </p:cNvPr>
            <p:cNvSpPr/>
            <p:nvPr userDrawn="1"/>
          </p:nvSpPr>
          <p:spPr bwMode="auto">
            <a:xfrm>
              <a:off x="8649682" y="2815441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1" name="ísļídè">
              <a:extLst>
                <a:ext uri="{FF2B5EF4-FFF2-40B4-BE49-F238E27FC236}">
                  <a16:creationId xmlns:a16="http://schemas.microsoft.com/office/drawing/2014/main" id="{540BD6BA-B67B-4C03-9BC3-ED00C075C9EF}"/>
                </a:ext>
              </a:extLst>
            </p:cNvPr>
            <p:cNvSpPr/>
            <p:nvPr userDrawn="1"/>
          </p:nvSpPr>
          <p:spPr bwMode="auto">
            <a:xfrm>
              <a:off x="8649682" y="2948746"/>
              <a:ext cx="503595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2" name="îSlíḑè">
              <a:extLst>
                <a:ext uri="{FF2B5EF4-FFF2-40B4-BE49-F238E27FC236}">
                  <a16:creationId xmlns:a16="http://schemas.microsoft.com/office/drawing/2014/main" id="{48D2C1FF-CA7F-4364-ACA8-E86E9C4A2FB9}"/>
                </a:ext>
              </a:extLst>
            </p:cNvPr>
            <p:cNvSpPr/>
            <p:nvPr userDrawn="1"/>
          </p:nvSpPr>
          <p:spPr bwMode="auto">
            <a:xfrm>
              <a:off x="9204295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3" name="ïslíďê">
              <a:extLst>
                <a:ext uri="{FF2B5EF4-FFF2-40B4-BE49-F238E27FC236}">
                  <a16:creationId xmlns:a16="http://schemas.microsoft.com/office/drawing/2014/main" id="{ABB148EF-2A54-4095-9A91-5040573014B5}"/>
                </a:ext>
              </a:extLst>
            </p:cNvPr>
            <p:cNvSpPr/>
            <p:nvPr userDrawn="1"/>
          </p:nvSpPr>
          <p:spPr bwMode="auto">
            <a:xfrm>
              <a:off x="8649682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4" name="íṥļïďé">
              <a:extLst>
                <a:ext uri="{FF2B5EF4-FFF2-40B4-BE49-F238E27FC236}">
                  <a16:creationId xmlns:a16="http://schemas.microsoft.com/office/drawing/2014/main" id="{873428B1-5B23-4769-A0A3-FD01B2E619AC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5" name="ïṧḻiďê">
              <a:extLst>
                <a:ext uri="{FF2B5EF4-FFF2-40B4-BE49-F238E27FC236}">
                  <a16:creationId xmlns:a16="http://schemas.microsoft.com/office/drawing/2014/main" id="{EB0837A3-A486-4C63-99EC-8F080016F569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6" name="îṩḻiḓê">
              <a:extLst>
                <a:ext uri="{FF2B5EF4-FFF2-40B4-BE49-F238E27FC236}">
                  <a16:creationId xmlns:a16="http://schemas.microsoft.com/office/drawing/2014/main" id="{406BF31B-9AB2-44E3-9C34-ECFB97EF68DF}"/>
                </a:ext>
              </a:extLst>
            </p:cNvPr>
            <p:cNvSpPr/>
            <p:nvPr userDrawn="1"/>
          </p:nvSpPr>
          <p:spPr bwMode="auto">
            <a:xfrm>
              <a:off x="9146695" y="2815441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7" name="îŝ1îḍê">
              <a:extLst>
                <a:ext uri="{FF2B5EF4-FFF2-40B4-BE49-F238E27FC236}">
                  <a16:creationId xmlns:a16="http://schemas.microsoft.com/office/drawing/2014/main" id="{2A055191-2855-4659-8E24-A69CF63CC376}"/>
                </a:ext>
              </a:extLst>
            </p:cNvPr>
            <p:cNvSpPr/>
            <p:nvPr userDrawn="1"/>
          </p:nvSpPr>
          <p:spPr bwMode="auto">
            <a:xfrm>
              <a:off x="8649682" y="2185125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8" name="iṩ1îďé">
              <a:extLst>
                <a:ext uri="{FF2B5EF4-FFF2-40B4-BE49-F238E27FC236}">
                  <a16:creationId xmlns:a16="http://schemas.microsoft.com/office/drawing/2014/main" id="{48CEF17B-25F9-497F-A827-D0119AD60755}"/>
                </a:ext>
              </a:extLst>
            </p:cNvPr>
            <p:cNvSpPr/>
            <p:nvPr userDrawn="1"/>
          </p:nvSpPr>
          <p:spPr bwMode="auto">
            <a:xfrm>
              <a:off x="8649682" y="2320075"/>
              <a:ext cx="503595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9" name="iSḻíḍe">
              <a:extLst>
                <a:ext uri="{FF2B5EF4-FFF2-40B4-BE49-F238E27FC236}">
                  <a16:creationId xmlns:a16="http://schemas.microsoft.com/office/drawing/2014/main" id="{F225C5E7-7304-4C79-BFAE-2F8B07F08B2D}"/>
                </a:ext>
              </a:extLst>
            </p:cNvPr>
            <p:cNvSpPr/>
            <p:nvPr userDrawn="1"/>
          </p:nvSpPr>
          <p:spPr bwMode="auto">
            <a:xfrm>
              <a:off x="9204295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0" name="íṥ1iḍè">
              <a:extLst>
                <a:ext uri="{FF2B5EF4-FFF2-40B4-BE49-F238E27FC236}">
                  <a16:creationId xmlns:a16="http://schemas.microsoft.com/office/drawing/2014/main" id="{200E071C-D07C-40C7-8E35-2466C97BE710}"/>
                </a:ext>
              </a:extLst>
            </p:cNvPr>
            <p:cNvSpPr/>
            <p:nvPr userDrawn="1"/>
          </p:nvSpPr>
          <p:spPr bwMode="auto">
            <a:xfrm>
              <a:off x="8649682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1" name="íṡ1íḓe">
              <a:extLst>
                <a:ext uri="{FF2B5EF4-FFF2-40B4-BE49-F238E27FC236}">
                  <a16:creationId xmlns:a16="http://schemas.microsoft.com/office/drawing/2014/main" id="{BE25401D-960A-4B1C-B168-DBFF07FF2D3A}"/>
                </a:ext>
              </a:extLst>
            </p:cNvPr>
            <p:cNvSpPr/>
            <p:nvPr userDrawn="1"/>
          </p:nvSpPr>
          <p:spPr bwMode="auto">
            <a:xfrm>
              <a:off x="8916292" y="2453379"/>
              <a:ext cx="742228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2" name="íŝľíḑe">
              <a:extLst>
                <a:ext uri="{FF2B5EF4-FFF2-40B4-BE49-F238E27FC236}">
                  <a16:creationId xmlns:a16="http://schemas.microsoft.com/office/drawing/2014/main" id="{C5B4C4D9-139F-4D4F-94BF-58A605B41A48}"/>
                </a:ext>
              </a:extLst>
            </p:cNvPr>
            <p:cNvSpPr/>
            <p:nvPr userDrawn="1"/>
          </p:nvSpPr>
          <p:spPr bwMode="auto">
            <a:xfrm>
              <a:off x="9146695" y="2185125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3" name="ïṥ1îḓè">
              <a:extLst>
                <a:ext uri="{FF2B5EF4-FFF2-40B4-BE49-F238E27FC236}">
                  <a16:creationId xmlns:a16="http://schemas.microsoft.com/office/drawing/2014/main" id="{45897B7C-5CF3-4D23-B816-3B2A57853241}"/>
                </a:ext>
              </a:extLst>
            </p:cNvPr>
            <p:cNvSpPr/>
            <p:nvPr userDrawn="1"/>
          </p:nvSpPr>
          <p:spPr bwMode="auto">
            <a:xfrm>
              <a:off x="7280430" y="2815441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4" name="íṡḷidê">
              <a:extLst>
                <a:ext uri="{FF2B5EF4-FFF2-40B4-BE49-F238E27FC236}">
                  <a16:creationId xmlns:a16="http://schemas.microsoft.com/office/drawing/2014/main" id="{A916F33C-EA89-49B2-A647-F1E9D5793283}"/>
                </a:ext>
              </a:extLst>
            </p:cNvPr>
            <p:cNvSpPr/>
            <p:nvPr userDrawn="1"/>
          </p:nvSpPr>
          <p:spPr bwMode="auto">
            <a:xfrm>
              <a:off x="7280430" y="2948746"/>
              <a:ext cx="501950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5" name="ïSḻïḑe">
              <a:extLst>
                <a:ext uri="{FF2B5EF4-FFF2-40B4-BE49-F238E27FC236}">
                  <a16:creationId xmlns:a16="http://schemas.microsoft.com/office/drawing/2014/main" id="{40732D72-1904-41BF-967A-052BF1D55673}"/>
                </a:ext>
              </a:extLst>
            </p:cNvPr>
            <p:cNvSpPr/>
            <p:nvPr userDrawn="1"/>
          </p:nvSpPr>
          <p:spPr bwMode="auto">
            <a:xfrm>
              <a:off x="7835042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6" name="ïŝlîḋe">
              <a:extLst>
                <a:ext uri="{FF2B5EF4-FFF2-40B4-BE49-F238E27FC236}">
                  <a16:creationId xmlns:a16="http://schemas.microsoft.com/office/drawing/2014/main" id="{03A6DF9F-0C46-4097-893F-268FE8AC6CE9}"/>
                </a:ext>
              </a:extLst>
            </p:cNvPr>
            <p:cNvSpPr/>
            <p:nvPr userDrawn="1"/>
          </p:nvSpPr>
          <p:spPr bwMode="auto">
            <a:xfrm>
              <a:off x="7280430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7" name="ïṣḷidè">
              <a:extLst>
                <a:ext uri="{FF2B5EF4-FFF2-40B4-BE49-F238E27FC236}">
                  <a16:creationId xmlns:a16="http://schemas.microsoft.com/office/drawing/2014/main" id="{8E5AE3FF-52EE-43D9-8424-2990E578D4D6}"/>
                </a:ext>
              </a:extLst>
            </p:cNvPr>
            <p:cNvSpPr/>
            <p:nvPr userDrawn="1"/>
          </p:nvSpPr>
          <p:spPr bwMode="auto">
            <a:xfrm>
              <a:off x="7548684" y="3082051"/>
              <a:ext cx="737290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8" name="íṧľîḓê">
              <a:extLst>
                <a:ext uri="{FF2B5EF4-FFF2-40B4-BE49-F238E27FC236}">
                  <a16:creationId xmlns:a16="http://schemas.microsoft.com/office/drawing/2014/main" id="{B7C6134D-3669-40C7-90EF-C583EF46ACA0}"/>
                </a:ext>
              </a:extLst>
            </p:cNvPr>
            <p:cNvSpPr/>
            <p:nvPr userDrawn="1"/>
          </p:nvSpPr>
          <p:spPr bwMode="auto">
            <a:xfrm>
              <a:off x="7777442" y="2815441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9" name="ïšḷîḓe">
              <a:extLst>
                <a:ext uri="{FF2B5EF4-FFF2-40B4-BE49-F238E27FC236}">
                  <a16:creationId xmlns:a16="http://schemas.microsoft.com/office/drawing/2014/main" id="{EB0E05C4-9AAA-4268-AE57-D0A5C45F17E5}"/>
                </a:ext>
              </a:extLst>
            </p:cNvPr>
            <p:cNvSpPr/>
            <p:nvPr userDrawn="1"/>
          </p:nvSpPr>
          <p:spPr bwMode="auto">
            <a:xfrm>
              <a:off x="7280430" y="2185125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0" name="îśliḍé">
              <a:extLst>
                <a:ext uri="{FF2B5EF4-FFF2-40B4-BE49-F238E27FC236}">
                  <a16:creationId xmlns:a16="http://schemas.microsoft.com/office/drawing/2014/main" id="{452F5EF2-338C-4F52-A8F8-A30DD2745932}"/>
                </a:ext>
              </a:extLst>
            </p:cNvPr>
            <p:cNvSpPr/>
            <p:nvPr userDrawn="1"/>
          </p:nvSpPr>
          <p:spPr bwMode="auto">
            <a:xfrm>
              <a:off x="7280430" y="2320075"/>
              <a:ext cx="501950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1" name="iṥ1iḍê">
              <a:extLst>
                <a:ext uri="{FF2B5EF4-FFF2-40B4-BE49-F238E27FC236}">
                  <a16:creationId xmlns:a16="http://schemas.microsoft.com/office/drawing/2014/main" id="{8EE38444-E3C8-4A2C-8CE9-D938B1A49990}"/>
                </a:ext>
              </a:extLst>
            </p:cNvPr>
            <p:cNvSpPr/>
            <p:nvPr userDrawn="1"/>
          </p:nvSpPr>
          <p:spPr bwMode="auto">
            <a:xfrm>
              <a:off x="7835042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2" name="ïSlïḑe">
              <a:extLst>
                <a:ext uri="{FF2B5EF4-FFF2-40B4-BE49-F238E27FC236}">
                  <a16:creationId xmlns:a16="http://schemas.microsoft.com/office/drawing/2014/main" id="{B672D154-68A6-4442-AF47-A18575FB19D8}"/>
                </a:ext>
              </a:extLst>
            </p:cNvPr>
            <p:cNvSpPr/>
            <p:nvPr userDrawn="1"/>
          </p:nvSpPr>
          <p:spPr bwMode="auto">
            <a:xfrm>
              <a:off x="7280430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3" name="ïśľîďe">
              <a:extLst>
                <a:ext uri="{FF2B5EF4-FFF2-40B4-BE49-F238E27FC236}">
                  <a16:creationId xmlns:a16="http://schemas.microsoft.com/office/drawing/2014/main" id="{ADAF3EE8-D7DE-489F-B071-21F62183CA87}"/>
                </a:ext>
              </a:extLst>
            </p:cNvPr>
            <p:cNvSpPr/>
            <p:nvPr userDrawn="1"/>
          </p:nvSpPr>
          <p:spPr bwMode="auto">
            <a:xfrm>
              <a:off x="7548684" y="2453379"/>
              <a:ext cx="737290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4" name="îṡľiďé">
              <a:extLst>
                <a:ext uri="{FF2B5EF4-FFF2-40B4-BE49-F238E27FC236}">
                  <a16:creationId xmlns:a16="http://schemas.microsoft.com/office/drawing/2014/main" id="{A52F0A3B-06FE-469A-8377-CC27084C8BED}"/>
                </a:ext>
              </a:extLst>
            </p:cNvPr>
            <p:cNvSpPr/>
            <p:nvPr userDrawn="1"/>
          </p:nvSpPr>
          <p:spPr bwMode="auto">
            <a:xfrm>
              <a:off x="7777442" y="2185125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5" name="ís1iḋê">
              <a:extLst>
                <a:ext uri="{FF2B5EF4-FFF2-40B4-BE49-F238E27FC236}">
                  <a16:creationId xmlns:a16="http://schemas.microsoft.com/office/drawing/2014/main" id="{D57A5B1F-346A-4492-9CC0-4255B170E7E6}"/>
                </a:ext>
              </a:extLst>
            </p:cNvPr>
            <p:cNvSpPr/>
            <p:nvPr userDrawn="1"/>
          </p:nvSpPr>
          <p:spPr bwMode="auto">
            <a:xfrm>
              <a:off x="6890390" y="1816480"/>
              <a:ext cx="3054487" cy="1948552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7" name="iSľíḑé">
              <a:extLst>
                <a:ext uri="{FF2B5EF4-FFF2-40B4-BE49-F238E27FC236}">
                  <a16:creationId xmlns:a16="http://schemas.microsoft.com/office/drawing/2014/main" id="{38B1ACC9-D7E8-4AF2-B7EE-99DF6094FC5A}"/>
                </a:ext>
              </a:extLst>
            </p:cNvPr>
            <p:cNvSpPr/>
            <p:nvPr userDrawn="1"/>
          </p:nvSpPr>
          <p:spPr bwMode="auto">
            <a:xfrm>
              <a:off x="9424824" y="3142943"/>
              <a:ext cx="106973" cy="8229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8" name="îslîďè">
              <a:extLst>
                <a:ext uri="{FF2B5EF4-FFF2-40B4-BE49-F238E27FC236}">
                  <a16:creationId xmlns:a16="http://schemas.microsoft.com/office/drawing/2014/main" id="{DC52AEDF-331F-417B-91C2-5647FB3772C0}"/>
                </a:ext>
              </a:extLst>
            </p:cNvPr>
            <p:cNvSpPr/>
            <p:nvPr userDrawn="1"/>
          </p:nvSpPr>
          <p:spPr bwMode="auto">
            <a:xfrm>
              <a:off x="9268479" y="3371700"/>
              <a:ext cx="653358" cy="386749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9" name="îSľiḑe">
              <a:extLst>
                <a:ext uri="{FF2B5EF4-FFF2-40B4-BE49-F238E27FC236}">
                  <a16:creationId xmlns:a16="http://schemas.microsoft.com/office/drawing/2014/main" id="{3F70D03F-0E09-490C-95E8-11A4013CB827}"/>
                </a:ext>
              </a:extLst>
            </p:cNvPr>
            <p:cNvSpPr/>
            <p:nvPr userDrawn="1"/>
          </p:nvSpPr>
          <p:spPr bwMode="auto">
            <a:xfrm>
              <a:off x="7017112" y="1906995"/>
              <a:ext cx="2805981" cy="115202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0" name="íSļíḓè">
              <a:extLst>
                <a:ext uri="{FF2B5EF4-FFF2-40B4-BE49-F238E27FC236}">
                  <a16:creationId xmlns:a16="http://schemas.microsoft.com/office/drawing/2014/main" id="{47E22736-BFE4-440D-975A-C20257A3F918}"/>
                </a:ext>
              </a:extLst>
            </p:cNvPr>
            <p:cNvSpPr/>
            <p:nvPr userDrawn="1"/>
          </p:nvSpPr>
          <p:spPr bwMode="auto">
            <a:xfrm>
              <a:off x="6890390" y="3532982"/>
              <a:ext cx="3054487" cy="232049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1" name="ïṧḻídé">
              <a:extLst>
                <a:ext uri="{FF2B5EF4-FFF2-40B4-BE49-F238E27FC236}">
                  <a16:creationId xmlns:a16="http://schemas.microsoft.com/office/drawing/2014/main" id="{1E2D50C2-413C-4015-B222-2A29038F76B0}"/>
                </a:ext>
              </a:extLst>
            </p:cNvPr>
            <p:cNvSpPr/>
            <p:nvPr userDrawn="1"/>
          </p:nvSpPr>
          <p:spPr bwMode="auto">
            <a:xfrm>
              <a:off x="9627250" y="1976116"/>
              <a:ext cx="62538" cy="60893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2" name="iṧlïḋê">
              <a:extLst>
                <a:ext uri="{FF2B5EF4-FFF2-40B4-BE49-F238E27FC236}">
                  <a16:creationId xmlns:a16="http://schemas.microsoft.com/office/drawing/2014/main" id="{4C7A2F1F-B975-468D-93B1-704F7B7AEDA6}"/>
                </a:ext>
              </a:extLst>
            </p:cNvPr>
            <p:cNvSpPr/>
            <p:nvPr userDrawn="1"/>
          </p:nvSpPr>
          <p:spPr bwMode="auto">
            <a:xfrm>
              <a:off x="9520276" y="1976116"/>
              <a:ext cx="62538" cy="6089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3" name="ïSḷîḍê">
              <a:extLst>
                <a:ext uri="{FF2B5EF4-FFF2-40B4-BE49-F238E27FC236}">
                  <a16:creationId xmlns:a16="http://schemas.microsoft.com/office/drawing/2014/main" id="{7C0A5E28-BECA-42F0-ABAA-726549D61AFD}"/>
                </a:ext>
              </a:extLst>
            </p:cNvPr>
            <p:cNvSpPr/>
            <p:nvPr userDrawn="1"/>
          </p:nvSpPr>
          <p:spPr bwMode="auto">
            <a:xfrm>
              <a:off x="9413304" y="1976116"/>
              <a:ext cx="62538" cy="60893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4" name="íşlîḍe">
              <a:extLst>
                <a:ext uri="{FF2B5EF4-FFF2-40B4-BE49-F238E27FC236}">
                  <a16:creationId xmlns:a16="http://schemas.microsoft.com/office/drawing/2014/main" id="{1A89977D-8D6E-419C-B458-1008D447951A}"/>
                </a:ext>
              </a:extLst>
            </p:cNvPr>
            <p:cNvSpPr/>
            <p:nvPr userDrawn="1"/>
          </p:nvSpPr>
          <p:spPr bwMode="auto">
            <a:xfrm>
              <a:off x="6696193" y="2598204"/>
              <a:ext cx="768559" cy="1594719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5" name="îṧliḓe">
              <a:extLst>
                <a:ext uri="{FF2B5EF4-FFF2-40B4-BE49-F238E27FC236}">
                  <a16:creationId xmlns:a16="http://schemas.microsoft.com/office/drawing/2014/main" id="{854CA286-7FF2-442C-8399-AC07CD799772}"/>
                </a:ext>
              </a:extLst>
            </p:cNvPr>
            <p:cNvSpPr/>
            <p:nvPr userDrawn="1"/>
          </p:nvSpPr>
          <p:spPr bwMode="auto">
            <a:xfrm>
              <a:off x="6806458" y="2876334"/>
              <a:ext cx="473972" cy="98744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6" name="ïšľïḍê">
              <a:extLst>
                <a:ext uri="{FF2B5EF4-FFF2-40B4-BE49-F238E27FC236}">
                  <a16:creationId xmlns:a16="http://schemas.microsoft.com/office/drawing/2014/main" id="{FA9B1DE8-7D4C-47AB-BD10-9F427F3643EB}"/>
                </a:ext>
              </a:extLst>
            </p:cNvPr>
            <p:cNvSpPr/>
            <p:nvPr userDrawn="1"/>
          </p:nvSpPr>
          <p:spPr bwMode="auto">
            <a:xfrm>
              <a:off x="6676444" y="3226875"/>
              <a:ext cx="470681" cy="10039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7" name="ïṡ1îḍe">
              <a:extLst>
                <a:ext uri="{FF2B5EF4-FFF2-40B4-BE49-F238E27FC236}">
                  <a16:creationId xmlns:a16="http://schemas.microsoft.com/office/drawing/2014/main" id="{2093210A-1156-45DB-BB4C-0DCE7AD0D875}"/>
                </a:ext>
              </a:extLst>
            </p:cNvPr>
            <p:cNvSpPr/>
            <p:nvPr userDrawn="1"/>
          </p:nvSpPr>
          <p:spPr bwMode="auto">
            <a:xfrm>
              <a:off x="6523391" y="3579063"/>
              <a:ext cx="482201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8" name="iṧḷídè">
              <a:extLst>
                <a:ext uri="{FF2B5EF4-FFF2-40B4-BE49-F238E27FC236}">
                  <a16:creationId xmlns:a16="http://schemas.microsoft.com/office/drawing/2014/main" id="{85B7D714-828A-4436-9722-8E585221469D}"/>
                </a:ext>
              </a:extLst>
            </p:cNvPr>
            <p:cNvSpPr/>
            <p:nvPr userDrawn="1"/>
          </p:nvSpPr>
          <p:spPr bwMode="auto">
            <a:xfrm>
              <a:off x="6383503" y="3929605"/>
              <a:ext cx="465744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9" name="íṥļïďê">
              <a:extLst>
                <a:ext uri="{FF2B5EF4-FFF2-40B4-BE49-F238E27FC236}">
                  <a16:creationId xmlns:a16="http://schemas.microsoft.com/office/drawing/2014/main" id="{87784FA9-5DAB-4CEA-92C6-1DFE9C3657A7}"/>
                </a:ext>
              </a:extLst>
            </p:cNvPr>
            <p:cNvSpPr/>
            <p:nvPr userDrawn="1"/>
          </p:nvSpPr>
          <p:spPr bwMode="auto">
            <a:xfrm>
              <a:off x="9329371" y="2991536"/>
              <a:ext cx="952882" cy="121290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80" name="iṡlîḑe">
              <a:extLst>
                <a:ext uri="{FF2B5EF4-FFF2-40B4-BE49-F238E27FC236}">
                  <a16:creationId xmlns:a16="http://schemas.microsoft.com/office/drawing/2014/main" id="{A1169987-8B8D-4BC8-92F5-645725EAC551}"/>
                </a:ext>
              </a:extLst>
            </p:cNvPr>
            <p:cNvSpPr/>
            <p:nvPr userDrawn="1"/>
          </p:nvSpPr>
          <p:spPr bwMode="auto">
            <a:xfrm>
              <a:off x="9666748" y="3391449"/>
              <a:ext cx="534865" cy="717541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83" name="îšļiḍé">
              <a:extLst>
                <a:ext uri="{FF2B5EF4-FFF2-40B4-BE49-F238E27FC236}">
                  <a16:creationId xmlns:a16="http://schemas.microsoft.com/office/drawing/2014/main" id="{E94F843E-1931-4CF4-A07C-516069F6EB04}"/>
                </a:ext>
              </a:extLst>
            </p:cNvPr>
            <p:cNvSpPr/>
            <p:nvPr userDrawn="1"/>
          </p:nvSpPr>
          <p:spPr bwMode="auto">
            <a:xfrm>
              <a:off x="8401176" y="4421680"/>
              <a:ext cx="783371" cy="1267217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84" name="í$ḷïḑe">
              <a:extLst>
                <a:ext uri="{FF2B5EF4-FFF2-40B4-BE49-F238E27FC236}">
                  <a16:creationId xmlns:a16="http://schemas.microsoft.com/office/drawing/2014/main" id="{C29BEDA5-B06B-4D27-B037-F5AED5D1574B}"/>
                </a:ext>
              </a:extLst>
            </p:cNvPr>
            <p:cNvSpPr/>
            <p:nvPr userDrawn="1"/>
          </p:nvSpPr>
          <p:spPr bwMode="auto">
            <a:xfrm>
              <a:off x="8661202" y="5688897"/>
              <a:ext cx="492076" cy="190905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85" name="ís1îḓe">
              <a:extLst>
                <a:ext uri="{FF2B5EF4-FFF2-40B4-BE49-F238E27FC236}">
                  <a16:creationId xmlns:a16="http://schemas.microsoft.com/office/drawing/2014/main" id="{3082BE92-7275-4477-8E76-3714C3FF5443}"/>
                </a:ext>
              </a:extLst>
            </p:cNvPr>
            <p:cNvSpPr/>
            <p:nvPr userDrawn="1"/>
          </p:nvSpPr>
          <p:spPr bwMode="auto">
            <a:xfrm>
              <a:off x="7644137" y="4421680"/>
              <a:ext cx="783371" cy="1267217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88" name="ïṥļîdê">
              <a:extLst>
                <a:ext uri="{FF2B5EF4-FFF2-40B4-BE49-F238E27FC236}">
                  <a16:creationId xmlns:a16="http://schemas.microsoft.com/office/drawing/2014/main" id="{6509C9E9-F0A5-41D8-A60B-B1D7CCE406EF}"/>
                </a:ext>
              </a:extLst>
            </p:cNvPr>
            <p:cNvSpPr/>
            <p:nvPr userDrawn="1"/>
          </p:nvSpPr>
          <p:spPr bwMode="auto">
            <a:xfrm>
              <a:off x="7935433" y="2711760"/>
              <a:ext cx="197488" cy="294587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89" name="isḻîḋè">
              <a:extLst>
                <a:ext uri="{FF2B5EF4-FFF2-40B4-BE49-F238E27FC236}">
                  <a16:creationId xmlns:a16="http://schemas.microsoft.com/office/drawing/2014/main" id="{BCAD022A-2BB4-472F-A840-23B522639385}"/>
                </a:ext>
              </a:extLst>
            </p:cNvPr>
            <p:cNvSpPr/>
            <p:nvPr userDrawn="1"/>
          </p:nvSpPr>
          <p:spPr bwMode="auto">
            <a:xfrm>
              <a:off x="7979867" y="2784173"/>
              <a:ext cx="153054" cy="184322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0" name="íṥľïḓê">
              <a:extLst>
                <a:ext uri="{FF2B5EF4-FFF2-40B4-BE49-F238E27FC236}">
                  <a16:creationId xmlns:a16="http://schemas.microsoft.com/office/drawing/2014/main" id="{84E11F03-65D2-472A-B806-EC31231E8560}"/>
                </a:ext>
              </a:extLst>
            </p:cNvPr>
            <p:cNvSpPr/>
            <p:nvPr userDrawn="1"/>
          </p:nvSpPr>
          <p:spPr bwMode="auto">
            <a:xfrm>
              <a:off x="8011137" y="2789109"/>
              <a:ext cx="121784" cy="8393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1" name="íş1íḋê">
              <a:extLst>
                <a:ext uri="{FF2B5EF4-FFF2-40B4-BE49-F238E27FC236}">
                  <a16:creationId xmlns:a16="http://schemas.microsoft.com/office/drawing/2014/main" id="{265B95A3-5F30-4FC2-A4A7-9F23121DA964}"/>
                </a:ext>
              </a:extLst>
            </p:cNvPr>
            <p:cNvSpPr/>
            <p:nvPr userDrawn="1"/>
          </p:nvSpPr>
          <p:spPr bwMode="auto">
            <a:xfrm>
              <a:off x="8748427" y="2780881"/>
              <a:ext cx="222175" cy="297879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2" name="íṧḷíďè">
              <a:extLst>
                <a:ext uri="{FF2B5EF4-FFF2-40B4-BE49-F238E27FC236}">
                  <a16:creationId xmlns:a16="http://schemas.microsoft.com/office/drawing/2014/main" id="{7EB307C2-66A6-448A-8EF2-887D4820030E}"/>
                </a:ext>
              </a:extLst>
            </p:cNvPr>
            <p:cNvSpPr/>
            <p:nvPr userDrawn="1"/>
          </p:nvSpPr>
          <p:spPr bwMode="auto">
            <a:xfrm>
              <a:off x="8748427" y="2853294"/>
              <a:ext cx="179386" cy="182677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3" name="ïşlíďe">
              <a:extLst>
                <a:ext uri="{FF2B5EF4-FFF2-40B4-BE49-F238E27FC236}">
                  <a16:creationId xmlns:a16="http://schemas.microsoft.com/office/drawing/2014/main" id="{BCC22F31-6EDC-40F5-AA90-B5435AD95566}"/>
                </a:ext>
              </a:extLst>
            </p:cNvPr>
            <p:cNvSpPr/>
            <p:nvPr userDrawn="1"/>
          </p:nvSpPr>
          <p:spPr bwMode="auto">
            <a:xfrm>
              <a:off x="8764884" y="2861522"/>
              <a:ext cx="128367" cy="64184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4" name="íṧ1iḍé">
              <a:extLst>
                <a:ext uri="{FF2B5EF4-FFF2-40B4-BE49-F238E27FC236}">
                  <a16:creationId xmlns:a16="http://schemas.microsoft.com/office/drawing/2014/main" id="{C9504CCB-28EF-4A00-A933-5292602CF21B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5" name="íSḷíḍé">
              <a:extLst>
                <a:ext uri="{FF2B5EF4-FFF2-40B4-BE49-F238E27FC236}">
                  <a16:creationId xmlns:a16="http://schemas.microsoft.com/office/drawing/2014/main" id="{7EACEEDA-0104-47E3-9361-C75ED4FB9243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6" name="ï$lïďê">
              <a:extLst>
                <a:ext uri="{FF2B5EF4-FFF2-40B4-BE49-F238E27FC236}">
                  <a16:creationId xmlns:a16="http://schemas.microsoft.com/office/drawing/2014/main" id="{DDEAF4E3-2289-4F78-8E69-1051F1D900DE}"/>
                </a:ext>
              </a:extLst>
            </p:cNvPr>
            <p:cNvSpPr/>
            <p:nvPr userDrawn="1"/>
          </p:nvSpPr>
          <p:spPr bwMode="auto">
            <a:xfrm>
              <a:off x="8340284" y="3154463"/>
              <a:ext cx="182677" cy="92161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7" name="iṩlïḍe">
              <a:extLst>
                <a:ext uri="{FF2B5EF4-FFF2-40B4-BE49-F238E27FC236}">
                  <a16:creationId xmlns:a16="http://schemas.microsoft.com/office/drawing/2014/main" id="{EEB15323-3E5E-4EA2-BC14-74AA6034E31A}"/>
                </a:ext>
              </a:extLst>
            </p:cNvPr>
            <p:cNvSpPr/>
            <p:nvPr userDrawn="1"/>
          </p:nvSpPr>
          <p:spPr bwMode="auto">
            <a:xfrm>
              <a:off x="8086841" y="2441860"/>
              <a:ext cx="750456" cy="812994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8" name="iš1íḓè">
              <a:extLst>
                <a:ext uri="{FF2B5EF4-FFF2-40B4-BE49-F238E27FC236}">
                  <a16:creationId xmlns:a16="http://schemas.microsoft.com/office/drawing/2014/main" id="{FB6BD81C-6E5D-47F0-BB34-3B766D0EAEB0}"/>
                </a:ext>
              </a:extLst>
            </p:cNvPr>
            <p:cNvSpPr/>
            <p:nvPr userDrawn="1"/>
          </p:nvSpPr>
          <p:spPr bwMode="auto">
            <a:xfrm>
              <a:off x="8086841" y="2624536"/>
              <a:ext cx="4938" cy="106973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9" name="işļíḍê">
              <a:extLst>
                <a:ext uri="{FF2B5EF4-FFF2-40B4-BE49-F238E27FC236}">
                  <a16:creationId xmlns:a16="http://schemas.microsoft.com/office/drawing/2014/main" id="{7B86B38C-D93C-4170-B264-035D2D476A7A}"/>
                </a:ext>
              </a:extLst>
            </p:cNvPr>
            <p:cNvSpPr/>
            <p:nvPr userDrawn="1"/>
          </p:nvSpPr>
          <p:spPr bwMode="auto">
            <a:xfrm>
              <a:off x="7869603" y="2269057"/>
              <a:ext cx="1051626" cy="1007191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0" name="ïṡļíḋe">
              <a:extLst>
                <a:ext uri="{FF2B5EF4-FFF2-40B4-BE49-F238E27FC236}">
                  <a16:creationId xmlns:a16="http://schemas.microsoft.com/office/drawing/2014/main" id="{425DDDE3-FD47-4C2F-92D4-1BB0EEB89B81}"/>
                </a:ext>
              </a:extLst>
            </p:cNvPr>
            <p:cNvSpPr/>
            <p:nvPr userDrawn="1"/>
          </p:nvSpPr>
          <p:spPr bwMode="auto">
            <a:xfrm>
              <a:off x="7979867" y="2152210"/>
              <a:ext cx="891989" cy="743873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1" name="işľiḍê">
              <a:extLst>
                <a:ext uri="{FF2B5EF4-FFF2-40B4-BE49-F238E27FC236}">
                  <a16:creationId xmlns:a16="http://schemas.microsoft.com/office/drawing/2014/main" id="{2C0A9916-D892-44F9-9477-D9AE1C868060}"/>
                </a:ext>
              </a:extLst>
            </p:cNvPr>
            <p:cNvSpPr/>
            <p:nvPr userDrawn="1"/>
          </p:nvSpPr>
          <p:spPr bwMode="auto">
            <a:xfrm>
              <a:off x="7705030" y="3376638"/>
              <a:ext cx="1441665" cy="812994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2" name="işḻíḍé">
              <a:extLst>
                <a:ext uri="{FF2B5EF4-FFF2-40B4-BE49-F238E27FC236}">
                  <a16:creationId xmlns:a16="http://schemas.microsoft.com/office/drawing/2014/main" id="{0B7F69A2-5EB7-4398-A300-F6473A913EE7}"/>
                </a:ext>
              </a:extLst>
            </p:cNvPr>
            <p:cNvSpPr/>
            <p:nvPr userDrawn="1"/>
          </p:nvSpPr>
          <p:spPr bwMode="auto">
            <a:xfrm>
              <a:off x="7912393" y="3460570"/>
              <a:ext cx="1038460" cy="1224428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3" name="ïṣľïḓè">
              <a:extLst>
                <a:ext uri="{FF2B5EF4-FFF2-40B4-BE49-F238E27FC236}">
                  <a16:creationId xmlns:a16="http://schemas.microsoft.com/office/drawing/2014/main" id="{B439BE05-E6B7-49C2-A9D7-8B961D72535F}"/>
                </a:ext>
              </a:extLst>
            </p:cNvPr>
            <p:cNvSpPr/>
            <p:nvPr userDrawn="1"/>
          </p:nvSpPr>
          <p:spPr bwMode="auto">
            <a:xfrm>
              <a:off x="7961765" y="3460570"/>
              <a:ext cx="939716" cy="1152016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4" name="îšlídè">
              <a:extLst>
                <a:ext uri="{FF2B5EF4-FFF2-40B4-BE49-F238E27FC236}">
                  <a16:creationId xmlns:a16="http://schemas.microsoft.com/office/drawing/2014/main" id="{2444FEFA-AD39-45C4-A6EB-228191BBD7AF}"/>
                </a:ext>
              </a:extLst>
            </p:cNvPr>
            <p:cNvSpPr/>
            <p:nvPr userDrawn="1"/>
          </p:nvSpPr>
          <p:spPr bwMode="auto">
            <a:xfrm>
              <a:off x="7945307" y="2708469"/>
              <a:ext cx="941361" cy="610569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5" name="ïṩḷídé">
              <a:extLst>
                <a:ext uri="{FF2B5EF4-FFF2-40B4-BE49-F238E27FC236}">
                  <a16:creationId xmlns:a16="http://schemas.microsoft.com/office/drawing/2014/main" id="{65B09B65-DD99-43BC-BC3A-DB9FF9F2ABFF}"/>
                </a:ext>
              </a:extLst>
            </p:cNvPr>
            <p:cNvSpPr/>
            <p:nvPr userDrawn="1"/>
          </p:nvSpPr>
          <p:spPr bwMode="auto">
            <a:xfrm>
              <a:off x="8007845" y="2731509"/>
              <a:ext cx="821223" cy="534865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6" name="íŝliḓè">
              <a:extLst>
                <a:ext uri="{FF2B5EF4-FFF2-40B4-BE49-F238E27FC236}">
                  <a16:creationId xmlns:a16="http://schemas.microsoft.com/office/drawing/2014/main" id="{48296FFD-DB04-4589-813C-2CB5475A3B01}"/>
                </a:ext>
              </a:extLst>
            </p:cNvPr>
            <p:cNvSpPr/>
            <p:nvPr userDrawn="1"/>
          </p:nvSpPr>
          <p:spPr bwMode="auto">
            <a:xfrm>
              <a:off x="7805419" y="4704747"/>
              <a:ext cx="1214553" cy="284713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7" name="ïSľíḋê">
              <a:extLst>
                <a:ext uri="{FF2B5EF4-FFF2-40B4-BE49-F238E27FC236}">
                  <a16:creationId xmlns:a16="http://schemas.microsoft.com/office/drawing/2014/main" id="{6E575278-117E-48C6-9A90-0A02E061B476}"/>
                </a:ext>
              </a:extLst>
            </p:cNvPr>
            <p:cNvSpPr/>
            <p:nvPr userDrawn="1"/>
          </p:nvSpPr>
          <p:spPr bwMode="auto">
            <a:xfrm>
              <a:off x="7945307" y="4704747"/>
              <a:ext cx="929842" cy="72412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8" name="íšļiḑê">
              <a:extLst>
                <a:ext uri="{FF2B5EF4-FFF2-40B4-BE49-F238E27FC236}">
                  <a16:creationId xmlns:a16="http://schemas.microsoft.com/office/drawing/2014/main" id="{A5B4C972-F81E-4A36-97F5-5CB45073B33B}"/>
                </a:ext>
              </a:extLst>
            </p:cNvPr>
            <p:cNvSpPr/>
            <p:nvPr userDrawn="1"/>
          </p:nvSpPr>
          <p:spPr bwMode="auto">
            <a:xfrm>
              <a:off x="8351804" y="4989460"/>
              <a:ext cx="113556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9" name="îşļiḓè">
              <a:extLst>
                <a:ext uri="{FF2B5EF4-FFF2-40B4-BE49-F238E27FC236}">
                  <a16:creationId xmlns:a16="http://schemas.microsoft.com/office/drawing/2014/main" id="{0685CCE9-4C3B-458D-B689-D4CDADB1FE43}"/>
                </a:ext>
              </a:extLst>
            </p:cNvPr>
            <p:cNvSpPr/>
            <p:nvPr userDrawn="1"/>
          </p:nvSpPr>
          <p:spPr bwMode="auto">
            <a:xfrm>
              <a:off x="7815294" y="4875903"/>
              <a:ext cx="1193159" cy="113556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0" name="ïṥḻïḋê">
              <a:extLst>
                <a:ext uri="{FF2B5EF4-FFF2-40B4-BE49-F238E27FC236}">
                  <a16:creationId xmlns:a16="http://schemas.microsoft.com/office/drawing/2014/main" id="{18BB8CCB-7A37-4305-BC22-E897B2D7218F}"/>
                </a:ext>
              </a:extLst>
            </p:cNvPr>
            <p:cNvSpPr/>
            <p:nvPr userDrawn="1"/>
          </p:nvSpPr>
          <p:spPr bwMode="auto">
            <a:xfrm>
              <a:off x="8320535" y="4150134"/>
              <a:ext cx="179386" cy="1550284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1" name="işḻíḓé">
              <a:extLst>
                <a:ext uri="{FF2B5EF4-FFF2-40B4-BE49-F238E27FC236}">
                  <a16:creationId xmlns:a16="http://schemas.microsoft.com/office/drawing/2014/main" id="{2932BA5A-E590-446D-B0B5-F85B86EC9928}"/>
                </a:ext>
              </a:extLst>
            </p:cNvPr>
            <p:cNvSpPr/>
            <p:nvPr userDrawn="1"/>
          </p:nvSpPr>
          <p:spPr bwMode="auto">
            <a:xfrm>
              <a:off x="8346867" y="2856585"/>
              <a:ext cx="126722" cy="1316589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2" name="íṧḷidé">
              <a:extLst>
                <a:ext uri="{FF2B5EF4-FFF2-40B4-BE49-F238E27FC236}">
                  <a16:creationId xmlns:a16="http://schemas.microsoft.com/office/drawing/2014/main" id="{2D5B728A-3BBA-40F1-9634-ACC386604EE9}"/>
                </a:ext>
              </a:extLst>
            </p:cNvPr>
            <p:cNvSpPr/>
            <p:nvPr userDrawn="1"/>
          </p:nvSpPr>
          <p:spPr bwMode="auto">
            <a:xfrm>
              <a:off x="7675406" y="5688897"/>
              <a:ext cx="488784" cy="190905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3" name="i$ḷîde">
              <a:extLst>
                <a:ext uri="{FF2B5EF4-FFF2-40B4-BE49-F238E27FC236}">
                  <a16:creationId xmlns:a16="http://schemas.microsoft.com/office/drawing/2014/main" id="{812BEC7E-920B-41D1-A017-5F0EA119128E}"/>
                </a:ext>
              </a:extLst>
            </p:cNvPr>
            <p:cNvSpPr/>
            <p:nvPr userDrawn="1"/>
          </p:nvSpPr>
          <p:spPr bwMode="auto">
            <a:xfrm>
              <a:off x="7556913" y="4173174"/>
              <a:ext cx="855783" cy="855783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4" name="ïşḻïḓe">
              <a:extLst>
                <a:ext uri="{FF2B5EF4-FFF2-40B4-BE49-F238E27FC236}">
                  <a16:creationId xmlns:a16="http://schemas.microsoft.com/office/drawing/2014/main" id="{9B8FC791-6553-4B3F-823B-DA0CCE0AD320}"/>
                </a:ext>
              </a:extLst>
            </p:cNvPr>
            <p:cNvSpPr/>
            <p:nvPr userDrawn="1"/>
          </p:nvSpPr>
          <p:spPr bwMode="auto">
            <a:xfrm>
              <a:off x="8439028" y="4173174"/>
              <a:ext cx="852491" cy="855783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5" name="iṩḻïdè">
              <a:extLst>
                <a:ext uri="{FF2B5EF4-FFF2-40B4-BE49-F238E27FC236}">
                  <a16:creationId xmlns:a16="http://schemas.microsoft.com/office/drawing/2014/main" id="{C7B961F2-0FA1-496B-BF75-1B80184F7546}"/>
                </a:ext>
              </a:extLst>
            </p:cNvPr>
            <p:cNvSpPr/>
            <p:nvPr userDrawn="1"/>
          </p:nvSpPr>
          <p:spPr bwMode="auto">
            <a:xfrm>
              <a:off x="8309014" y="5700418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6" name="íṧḻíḋe">
              <a:extLst>
                <a:ext uri="{FF2B5EF4-FFF2-40B4-BE49-F238E27FC236}">
                  <a16:creationId xmlns:a16="http://schemas.microsoft.com/office/drawing/2014/main" id="{68EA8E57-BFE3-41B8-90C7-BAE4C2494936}"/>
                </a:ext>
              </a:extLst>
            </p:cNvPr>
            <p:cNvSpPr/>
            <p:nvPr userDrawn="1"/>
          </p:nvSpPr>
          <p:spPr bwMode="auto">
            <a:xfrm>
              <a:off x="8309014" y="4085950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7" name="ïş1ïḓê">
              <a:extLst>
                <a:ext uri="{FF2B5EF4-FFF2-40B4-BE49-F238E27FC236}">
                  <a16:creationId xmlns:a16="http://schemas.microsoft.com/office/drawing/2014/main" id="{D0752CDE-0251-4715-B0F5-4392FFAA894B}"/>
                </a:ext>
              </a:extLst>
            </p:cNvPr>
            <p:cNvSpPr/>
            <p:nvPr userDrawn="1"/>
          </p:nvSpPr>
          <p:spPr bwMode="auto">
            <a:xfrm>
              <a:off x="7961765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8" name="iṥḷïdé">
              <a:extLst>
                <a:ext uri="{FF2B5EF4-FFF2-40B4-BE49-F238E27FC236}">
                  <a16:creationId xmlns:a16="http://schemas.microsoft.com/office/drawing/2014/main" id="{F6EBCF3F-E47C-43D1-9DD6-AE7F8F37E631}"/>
                </a:ext>
              </a:extLst>
            </p:cNvPr>
            <p:cNvSpPr/>
            <p:nvPr userDrawn="1"/>
          </p:nvSpPr>
          <p:spPr bwMode="auto">
            <a:xfrm>
              <a:off x="8652974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9" name="îṩľîde">
              <a:extLst>
                <a:ext uri="{FF2B5EF4-FFF2-40B4-BE49-F238E27FC236}">
                  <a16:creationId xmlns:a16="http://schemas.microsoft.com/office/drawing/2014/main" id="{6A63D590-6C4D-47BF-9141-493E199B4666}"/>
                </a:ext>
              </a:extLst>
            </p:cNvPr>
            <p:cNvSpPr/>
            <p:nvPr userDrawn="1"/>
          </p:nvSpPr>
          <p:spPr bwMode="auto">
            <a:xfrm>
              <a:off x="8095069" y="5688897"/>
              <a:ext cx="635254" cy="72412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7234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E457D"/>
                </a:solidFill>
              </a:defRPr>
            </a:lvl1pPr>
          </a:lstStyle>
          <a:p>
            <a:r>
              <a:rPr kumimoji="0" lang="zh-TW" altLang="en-US" dirty="0"/>
              <a:t>按一下以編輯母片標題樣式</a:t>
            </a:r>
            <a:endParaRPr kumimoji="0" lang="en-US" dirty="0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23923-BD85-414E-96BB-71FAA6A68C81}" type="datetime1">
              <a:rPr lang="zh-TW" altLang="en-US" smtClean="0"/>
              <a:t>2022/12/20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4496403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D7BB0-1597-4F0C-B686-1F625CAFE9F4}" type="datetime1">
              <a:rPr lang="zh-TW" altLang="en-US" smtClean="0"/>
              <a:t>2022/12/20</a:t>
            </a:fld>
            <a:endParaRPr lang="zh-TW" altLang="en-US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711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625531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12800" y="273050"/>
            <a:ext cx="10769600" cy="869950"/>
          </a:xfrm>
        </p:spPr>
        <p:txBody>
          <a:bodyPr anchor="ctr"/>
          <a:lstStyle>
            <a:lvl1pPr algn="l">
              <a:buNone/>
              <a:defRPr sz="4400" b="0"/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8910D-D0A2-440D-BC68-C380B6CD720A}" type="datetime1">
              <a:rPr lang="zh-TW" altLang="en-US" smtClean="0"/>
              <a:t>2022/12/20</a:t>
            </a:fld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2"/>
          </p:nvPr>
        </p:nvSpPr>
        <p:spPr>
          <a:xfrm>
            <a:off x="812800" y="1752600"/>
            <a:ext cx="21336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>
                <a:latin typeface="Arial" panose="020B0604020202020204" pitchFamily="34" charset="0"/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zh-TW" altLang="en-US" dirty="0"/>
              <a:t>按一下以編輯母片文字樣式</a:t>
            </a:r>
          </a:p>
        </p:txBody>
      </p:sp>
      <p:sp>
        <p:nvSpPr>
          <p:cNvPr id="9" name="內容版面配置區 8"/>
          <p:cNvSpPr>
            <a:spLocks noGrp="1"/>
          </p:cNvSpPr>
          <p:nvPr>
            <p:ph sz="quarter" idx="1"/>
          </p:nvPr>
        </p:nvSpPr>
        <p:spPr>
          <a:xfrm>
            <a:off x="3149600" y="1752600"/>
            <a:ext cx="8534400" cy="4419600"/>
          </a:xfrm>
        </p:spPr>
        <p:txBody>
          <a:bodyPr/>
          <a:lstStyle/>
          <a:p>
            <a:pPr lvl="0" eaLnBrk="1" latinLnBrk="0" hangingPunct="1"/>
            <a:r>
              <a:rPr lang="zh-TW" altLang="en-US"/>
              <a:t>按一下以編輯母片文字樣式</a:t>
            </a:r>
          </a:p>
          <a:p>
            <a:pPr lvl="1" eaLnBrk="1" latinLnBrk="0" hangingPunct="1"/>
            <a:r>
              <a:rPr lang="zh-TW" altLang="en-US"/>
              <a:t>第二層</a:t>
            </a:r>
          </a:p>
          <a:p>
            <a:pPr lvl="2" eaLnBrk="1" latinLnBrk="0" hangingPunct="1"/>
            <a:r>
              <a:rPr lang="zh-TW" altLang="en-US"/>
              <a:t>第三層</a:t>
            </a:r>
          </a:p>
          <a:p>
            <a:pPr lvl="3" eaLnBrk="1" latinLnBrk="0" hangingPunct="1"/>
            <a:r>
              <a:rPr lang="zh-TW" altLang="en-US"/>
              <a:t>第四層</a:t>
            </a:r>
          </a:p>
          <a:p>
            <a:pPr lvl="4" eaLnBrk="1" latinLnBrk="0" hangingPunct="1"/>
            <a:r>
              <a:rPr lang="zh-TW" altLang="en-US"/>
              <a:t>第五層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3018447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含標題的圖片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2133600" y="5486400"/>
            <a:ext cx="97536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zh-TW" altLang="en-US"/>
              <a:t>按一下以編輯母片文字樣式</a:t>
            </a:r>
          </a:p>
        </p:txBody>
      </p:sp>
      <p:sp>
        <p:nvSpPr>
          <p:cNvPr id="8" name="矩形 7"/>
          <p:cNvSpPr/>
          <p:nvPr/>
        </p:nvSpPr>
        <p:spPr bwMode="white">
          <a:xfrm>
            <a:off x="-12192" y="4572000"/>
            <a:ext cx="12192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-12192" y="4663440"/>
            <a:ext cx="1950720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060448" y="4654296"/>
            <a:ext cx="10131552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2133600" y="4648200"/>
            <a:ext cx="9753600" cy="6858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11" name="矩形 10"/>
          <p:cNvSpPr/>
          <p:nvPr/>
        </p:nvSpPr>
        <p:spPr bwMode="white">
          <a:xfrm>
            <a:off x="1930400" y="0"/>
            <a:ext cx="134112" cy="686714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2" name="日期版面配置區 11"/>
          <p:cNvSpPr>
            <a:spLocks noGrp="1"/>
          </p:cNvSpPr>
          <p:nvPr>
            <p:ph type="dt" sz="half" idx="10"/>
          </p:nvPr>
        </p:nvSpPr>
        <p:spPr>
          <a:xfrm>
            <a:off x="8331200" y="6248401"/>
            <a:ext cx="3556000" cy="365125"/>
          </a:xfrm>
        </p:spPr>
        <p:txBody>
          <a:bodyPr rtlCol="0"/>
          <a:lstStyle/>
          <a:p>
            <a:fld id="{A0CC60CC-E679-466B-996C-6EE6FF2CBC6B}" type="datetime1">
              <a:rPr lang="zh-TW" altLang="en-US" smtClean="0"/>
              <a:t>2022/12/20</a:t>
            </a:fld>
            <a:endParaRPr lang="zh-TW" altLang="en-US"/>
          </a:p>
        </p:txBody>
      </p:sp>
      <p:sp>
        <p:nvSpPr>
          <p:cNvPr id="13" name="投影片編號版面配置區 12"/>
          <p:cNvSpPr>
            <a:spLocks noGrp="1"/>
          </p:cNvSpPr>
          <p:nvPr>
            <p:ph type="sldNum" sz="quarter" idx="11"/>
          </p:nvPr>
        </p:nvSpPr>
        <p:spPr>
          <a:xfrm>
            <a:off x="0" y="4667249"/>
            <a:ext cx="1930400" cy="663578"/>
          </a:xfrm>
        </p:spPr>
        <p:txBody>
          <a:bodyPr rtlCol="0"/>
          <a:lstStyle>
            <a:lvl1pPr>
              <a:defRPr sz="2800"/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4" name="頁尾版面配置區 13"/>
          <p:cNvSpPr>
            <a:spLocks noGrp="1"/>
          </p:cNvSpPr>
          <p:nvPr>
            <p:ph type="ftr" sz="quarter" idx="12"/>
          </p:nvPr>
        </p:nvSpPr>
        <p:spPr>
          <a:xfrm>
            <a:off x="2133600" y="6248207"/>
            <a:ext cx="6096000" cy="365125"/>
          </a:xfrm>
        </p:spPr>
        <p:txBody>
          <a:bodyPr rtlCol="0"/>
          <a:lstStyle/>
          <a:p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2080768" y="0"/>
            <a:ext cx="10111232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zh-TW" altLang="en-US"/>
              <a:t>按一下圖示以新增圖片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821208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zh-TW" altLang="en-US"/>
              <a:t>按一下以編輯母片文字樣式</a:t>
            </a:r>
          </a:p>
          <a:p>
            <a:pPr lvl="1" eaLnBrk="1" latinLnBrk="0" hangingPunct="1"/>
            <a:r>
              <a:rPr lang="zh-TW" altLang="en-US"/>
              <a:t>第二層</a:t>
            </a:r>
          </a:p>
          <a:p>
            <a:pPr lvl="2" eaLnBrk="1" latinLnBrk="0" hangingPunct="1"/>
            <a:r>
              <a:rPr lang="zh-TW" altLang="en-US"/>
              <a:t>第三層</a:t>
            </a:r>
          </a:p>
          <a:p>
            <a:pPr lvl="3" eaLnBrk="1" latinLnBrk="0" hangingPunct="1"/>
            <a:r>
              <a:rPr lang="zh-TW" altLang="en-US"/>
              <a:t>第四層</a:t>
            </a:r>
          </a:p>
          <a:p>
            <a:pPr lvl="4" eaLnBrk="1" latinLnBrk="0" hangingPunct="1"/>
            <a:r>
              <a:rPr lang="zh-TW" altLang="en-US"/>
              <a:t>第五層</a:t>
            </a:r>
            <a:endParaRPr kumimoji="0"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637C-EACD-4536-AEC8-470B273D54EC}" type="datetime1">
              <a:rPr lang="zh-TW" altLang="en-US" smtClean="0"/>
              <a:t>2022/12/20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45089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直排標題及文字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8737600" y="609601"/>
            <a:ext cx="2743200" cy="5516563"/>
          </a:xfrm>
        </p:spPr>
        <p:txBody>
          <a:bodyPr vert="eaVert"/>
          <a:lstStyle/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609600" y="609600"/>
            <a:ext cx="7416800" cy="5516564"/>
          </a:xfrm>
        </p:spPr>
        <p:txBody>
          <a:bodyPr vert="eaVert"/>
          <a:lstStyle/>
          <a:p>
            <a:pPr lvl="0" eaLnBrk="1" latinLnBrk="0" hangingPunct="1"/>
            <a:r>
              <a:rPr lang="zh-TW" altLang="en-US"/>
              <a:t>按一下以編輯母片文字樣式</a:t>
            </a:r>
          </a:p>
          <a:p>
            <a:pPr lvl="1" eaLnBrk="1" latinLnBrk="0" hangingPunct="1"/>
            <a:r>
              <a:rPr lang="zh-TW" altLang="en-US"/>
              <a:t>第二層</a:t>
            </a:r>
          </a:p>
          <a:p>
            <a:pPr lvl="2" eaLnBrk="1" latinLnBrk="0" hangingPunct="1"/>
            <a:r>
              <a:rPr lang="zh-TW" altLang="en-US"/>
              <a:t>第三層</a:t>
            </a:r>
          </a:p>
          <a:p>
            <a:pPr lvl="3" eaLnBrk="1" latinLnBrk="0" hangingPunct="1"/>
            <a:r>
              <a:rPr lang="zh-TW" altLang="en-US"/>
              <a:t>第四層</a:t>
            </a:r>
          </a:p>
          <a:p>
            <a:pPr lvl="4" eaLnBrk="1" latinLnBrk="0" hangingPunct="1"/>
            <a:r>
              <a:rPr lang="zh-TW" altLang="en-US"/>
              <a:t>第五層</a:t>
            </a:r>
            <a:endParaRPr kumimoji="0"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8737600" y="6248403"/>
            <a:ext cx="2946400" cy="365125"/>
          </a:xfrm>
        </p:spPr>
        <p:txBody>
          <a:bodyPr/>
          <a:lstStyle/>
          <a:p>
            <a:fld id="{DD431DFD-C98C-4C03-9A08-F2C4BC5C3AD2}" type="datetime1">
              <a:rPr lang="zh-TW" altLang="en-US" smtClean="0"/>
              <a:t>2022/12/20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609602" y="6248208"/>
            <a:ext cx="7431311" cy="365125"/>
          </a:xfrm>
        </p:spPr>
        <p:txBody>
          <a:bodyPr/>
          <a:lstStyle/>
          <a:p>
            <a:endParaRPr lang="zh-TW" altLang="en-US"/>
          </a:p>
        </p:txBody>
      </p:sp>
      <p:sp>
        <p:nvSpPr>
          <p:cNvPr id="7" name="矩形 6"/>
          <p:cNvSpPr/>
          <p:nvPr/>
        </p:nvSpPr>
        <p:spPr bwMode="white">
          <a:xfrm>
            <a:off x="8128424" y="0"/>
            <a:ext cx="426720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8189384" y="609600"/>
            <a:ext cx="3048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8189384" y="0"/>
            <a:ext cx="3048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 rot="5400000">
            <a:off x="8075084" y="103716"/>
            <a:ext cx="533400" cy="325968"/>
          </a:xfrm>
        </p:spPr>
        <p:txBody>
          <a:bodyPr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32676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任意多边形: 形状 3">
            <a:extLst>
              <a:ext uri="{FF2B5EF4-FFF2-40B4-BE49-F238E27FC236}">
                <a16:creationId xmlns:a16="http://schemas.microsoft.com/office/drawing/2014/main" id="{06520DCF-DA61-4D14-AE07-15B7F11C9D32}"/>
              </a:ext>
            </a:extLst>
          </p:cNvPr>
          <p:cNvSpPr/>
          <p:nvPr userDrawn="1"/>
        </p:nvSpPr>
        <p:spPr>
          <a:xfrm>
            <a:off x="-3175" y="-3175"/>
            <a:ext cx="12198350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2" name="任意多边形: 形状 4">
            <a:extLst>
              <a:ext uri="{FF2B5EF4-FFF2-40B4-BE49-F238E27FC236}">
                <a16:creationId xmlns:a16="http://schemas.microsoft.com/office/drawing/2014/main" id="{C5E579F9-9089-46E8-880D-9A5453E7D2E7}"/>
              </a:ext>
            </a:extLst>
          </p:cNvPr>
          <p:cNvSpPr/>
          <p:nvPr userDrawn="1"/>
        </p:nvSpPr>
        <p:spPr>
          <a:xfrm>
            <a:off x="5273293" y="-3175"/>
            <a:ext cx="6921500" cy="6864350"/>
          </a:xfrm>
          <a:custGeom>
            <a:avLst/>
            <a:gdLst>
              <a:gd name="connsiteX0" fmla="*/ 5248657 w 6921500"/>
              <a:gd name="connsiteY0" fmla="*/ 1030605 h 6864350"/>
              <a:gd name="connsiteX1" fmla="*/ 72137 w 6921500"/>
              <a:gd name="connsiteY1" fmla="*/ 6324600 h 6864350"/>
              <a:gd name="connsiteX2" fmla="*/ 3557 w 6921500"/>
              <a:gd name="connsiteY2" fmla="*/ 6861175 h 6864350"/>
              <a:gd name="connsiteX3" fmla="*/ 6918707 w 6921500"/>
              <a:gd name="connsiteY3" fmla="*/ 6861175 h 6864350"/>
              <a:gd name="connsiteX4" fmla="*/ 6918707 w 6921500"/>
              <a:gd name="connsiteY4" fmla="*/ 3175 h 6864350"/>
              <a:gd name="connsiteX5" fmla="*/ 5663313 w 6921500"/>
              <a:gd name="connsiteY5" fmla="*/ 3175 h 6864350"/>
              <a:gd name="connsiteX6" fmla="*/ 5248657 w 6921500"/>
              <a:gd name="connsiteY6" fmla="*/ 103060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1500" h="6864350">
                <a:moveTo>
                  <a:pt x="5248657" y="1030605"/>
                </a:moveTo>
                <a:cubicBezTo>
                  <a:pt x="4744467" y="1462405"/>
                  <a:pt x="72137" y="6324600"/>
                  <a:pt x="72137" y="6324600"/>
                </a:cubicBezTo>
                <a:cubicBezTo>
                  <a:pt x="72137" y="6324600"/>
                  <a:pt x="-2793" y="6593206"/>
                  <a:pt x="3557" y="6861175"/>
                </a:cubicBezTo>
                <a:lnTo>
                  <a:pt x="6918707" y="6861175"/>
                </a:lnTo>
                <a:lnTo>
                  <a:pt x="6918707" y="3175"/>
                </a:lnTo>
                <a:lnTo>
                  <a:pt x="5663313" y="3175"/>
                </a:lnTo>
                <a:cubicBezTo>
                  <a:pt x="5655692" y="276225"/>
                  <a:pt x="5587747" y="740410"/>
                  <a:pt x="5248657" y="1030605"/>
                </a:cubicBezTo>
                <a:close/>
              </a:path>
            </a:pathLst>
          </a:custGeom>
          <a:solidFill>
            <a:srgbClr val="8FBFF9">
              <a:lumMod val="60000"/>
              <a:lumOff val="4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3" name="任意多边形: 形状 5">
            <a:extLst>
              <a:ext uri="{FF2B5EF4-FFF2-40B4-BE49-F238E27FC236}">
                <a16:creationId xmlns:a16="http://schemas.microsoft.com/office/drawing/2014/main" id="{B022E879-35B8-4679-A9A8-63D3D4401CE2}"/>
              </a:ext>
            </a:extLst>
          </p:cNvPr>
          <p:cNvSpPr/>
          <p:nvPr userDrawn="1"/>
        </p:nvSpPr>
        <p:spPr>
          <a:xfrm>
            <a:off x="-3175" y="-3175"/>
            <a:ext cx="4114800" cy="3454400"/>
          </a:xfrm>
          <a:custGeom>
            <a:avLst/>
            <a:gdLst>
              <a:gd name="connsiteX0" fmla="*/ 3175 w 4114800"/>
              <a:gd name="connsiteY0" fmla="*/ 3449320 h 3454400"/>
              <a:gd name="connsiteX1" fmla="*/ 661670 w 4114800"/>
              <a:gd name="connsiteY1" fmla="*/ 2989580 h 3454400"/>
              <a:gd name="connsiteX2" fmla="*/ 2552065 w 4114800"/>
              <a:gd name="connsiteY2" fmla="*/ 1466850 h 3454400"/>
              <a:gd name="connsiteX3" fmla="*/ 4074795 w 4114800"/>
              <a:gd name="connsiteY3" fmla="*/ 626745 h 3454400"/>
              <a:gd name="connsiteX4" fmla="*/ 3412490 w 4114800"/>
              <a:gd name="connsiteY4" fmla="*/ 3175 h 3454400"/>
              <a:gd name="connsiteX5" fmla="*/ 3175 w 4114800"/>
              <a:gd name="connsiteY5" fmla="*/ 3175 h 3454400"/>
              <a:gd name="connsiteX6" fmla="*/ 3175 w 4114800"/>
              <a:gd name="connsiteY6" fmla="*/ 3449320 h 345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4800" h="3454400">
                <a:moveTo>
                  <a:pt x="3175" y="3449320"/>
                </a:moveTo>
                <a:cubicBezTo>
                  <a:pt x="214630" y="3479165"/>
                  <a:pt x="483235" y="3389630"/>
                  <a:pt x="661670" y="2989580"/>
                </a:cubicBezTo>
                <a:cubicBezTo>
                  <a:pt x="1082040" y="2044065"/>
                  <a:pt x="1869440" y="1203960"/>
                  <a:pt x="2552065" y="1466850"/>
                </a:cubicBezTo>
                <a:cubicBezTo>
                  <a:pt x="3234690" y="1729740"/>
                  <a:pt x="4337685" y="1414145"/>
                  <a:pt x="4074795" y="626745"/>
                </a:cubicBezTo>
                <a:cubicBezTo>
                  <a:pt x="3990340" y="370205"/>
                  <a:pt x="3728085" y="164465"/>
                  <a:pt x="3412490" y="3175"/>
                </a:cubicBezTo>
                <a:lnTo>
                  <a:pt x="3175" y="3175"/>
                </a:lnTo>
                <a:lnTo>
                  <a:pt x="3175" y="3449320"/>
                </a:lnTo>
                <a:close/>
              </a:path>
            </a:pathLst>
          </a:custGeom>
          <a:solidFill>
            <a:srgbClr val="C1DC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4" name="任意多边形: 形状 6">
            <a:extLst>
              <a:ext uri="{FF2B5EF4-FFF2-40B4-BE49-F238E27FC236}">
                <a16:creationId xmlns:a16="http://schemas.microsoft.com/office/drawing/2014/main" id="{FD3C3680-6920-403D-BF86-14398F569C70}"/>
              </a:ext>
            </a:extLst>
          </p:cNvPr>
          <p:cNvSpPr/>
          <p:nvPr userDrawn="1"/>
        </p:nvSpPr>
        <p:spPr>
          <a:xfrm>
            <a:off x="-3175" y="-3175"/>
            <a:ext cx="3454400" cy="2876550"/>
          </a:xfrm>
          <a:custGeom>
            <a:avLst/>
            <a:gdLst>
              <a:gd name="connsiteX0" fmla="*/ 3175 w 3454400"/>
              <a:gd name="connsiteY0" fmla="*/ 2875280 h 2876550"/>
              <a:gd name="connsiteX1" fmla="*/ 511175 w 3454400"/>
              <a:gd name="connsiteY1" fmla="*/ 2478405 h 2876550"/>
              <a:gd name="connsiteX2" fmla="*/ 2123440 w 3454400"/>
              <a:gd name="connsiteY2" fmla="*/ 1179830 h 2876550"/>
              <a:gd name="connsiteX3" fmla="*/ 3422015 w 3454400"/>
              <a:gd name="connsiteY3" fmla="*/ 463550 h 2876550"/>
              <a:gd name="connsiteX4" fmla="*/ 2985135 w 3454400"/>
              <a:gd name="connsiteY4" fmla="*/ 3175 h 2876550"/>
              <a:gd name="connsiteX5" fmla="*/ 3175 w 3454400"/>
              <a:gd name="connsiteY5" fmla="*/ 3175 h 2876550"/>
              <a:gd name="connsiteX6" fmla="*/ 3175 w 3454400"/>
              <a:gd name="connsiteY6" fmla="*/ 2875280 h 287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54400" h="2876550">
                <a:moveTo>
                  <a:pt x="3175" y="2875280"/>
                </a:moveTo>
                <a:cubicBezTo>
                  <a:pt x="167005" y="2876550"/>
                  <a:pt x="375285" y="2783205"/>
                  <a:pt x="511175" y="2478405"/>
                </a:cubicBezTo>
                <a:cubicBezTo>
                  <a:pt x="869315" y="1672590"/>
                  <a:pt x="1541145" y="955675"/>
                  <a:pt x="2123440" y="1179830"/>
                </a:cubicBezTo>
                <a:cubicBezTo>
                  <a:pt x="2705735" y="1403985"/>
                  <a:pt x="3646170" y="1134745"/>
                  <a:pt x="3422015" y="463550"/>
                </a:cubicBezTo>
                <a:cubicBezTo>
                  <a:pt x="3361055" y="281305"/>
                  <a:pt x="3194685" y="128905"/>
                  <a:pt x="2985135" y="3175"/>
                </a:cubicBezTo>
                <a:lnTo>
                  <a:pt x="3175" y="3175"/>
                </a:lnTo>
                <a:lnTo>
                  <a:pt x="3175" y="2875280"/>
                </a:lnTo>
                <a:close/>
              </a:path>
            </a:pathLst>
          </a:custGeom>
          <a:solidFill>
            <a:srgbClr val="A8BF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5" name="任意多边形: 形状 7">
            <a:extLst>
              <a:ext uri="{FF2B5EF4-FFF2-40B4-BE49-F238E27FC236}">
                <a16:creationId xmlns:a16="http://schemas.microsoft.com/office/drawing/2014/main" id="{09B0EA7E-BB83-4657-94D9-2C3B9030ACD3}"/>
              </a:ext>
            </a:extLst>
          </p:cNvPr>
          <p:cNvSpPr/>
          <p:nvPr userDrawn="1"/>
        </p:nvSpPr>
        <p:spPr>
          <a:xfrm>
            <a:off x="717550" y="533400"/>
            <a:ext cx="10756900" cy="5791200"/>
          </a:xfrm>
          <a:prstGeom prst="roundRect">
            <a:avLst>
              <a:gd name="adj" fmla="val 3885"/>
            </a:avLst>
          </a:prstGeom>
          <a:solidFill>
            <a:srgbClr val="FFFFFF"/>
          </a:solidFill>
          <a:ln w="6350" cap="flat">
            <a:noFill/>
            <a:prstDash val="solid"/>
            <a:miter/>
          </a:ln>
          <a:effectLst>
            <a:outerShdw blurRad="228600" dist="38100" dir="2700000" algn="tl" rotWithShape="0">
              <a:schemeClr val="accent1">
                <a:lumMod val="60000"/>
                <a:lumOff val="40000"/>
                <a:alpha val="26000"/>
              </a:scheme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0" name="任意多边形: 形状 9852">
            <a:extLst>
              <a:ext uri="{FF2B5EF4-FFF2-40B4-BE49-F238E27FC236}">
                <a16:creationId xmlns:a16="http://schemas.microsoft.com/office/drawing/2014/main" id="{5768ACB9-8152-46E7-9094-AF576368C7BC}"/>
              </a:ext>
            </a:extLst>
          </p:cNvPr>
          <p:cNvSpPr/>
          <p:nvPr userDrawn="1"/>
        </p:nvSpPr>
        <p:spPr>
          <a:xfrm>
            <a:off x="717550" y="533400"/>
            <a:ext cx="3390900" cy="2317750"/>
          </a:xfrm>
          <a:custGeom>
            <a:avLst/>
            <a:gdLst>
              <a:gd name="connsiteX0" fmla="*/ 3175 w 3390900"/>
              <a:gd name="connsiteY0" fmla="*/ 2318385 h 2317750"/>
              <a:gd name="connsiteX1" fmla="*/ 1831340 w 3390900"/>
              <a:gd name="connsiteY1" fmla="*/ 929640 h 2317750"/>
              <a:gd name="connsiteX2" fmla="*/ 3354070 w 3390900"/>
              <a:gd name="connsiteY2" fmla="*/ 89535 h 2317750"/>
              <a:gd name="connsiteX3" fmla="*/ 3317875 w 3390900"/>
              <a:gd name="connsiteY3" fmla="*/ 3175 h 2317750"/>
              <a:gd name="connsiteX4" fmla="*/ 3175 w 3390900"/>
              <a:gd name="connsiteY4" fmla="*/ 3175 h 2317750"/>
              <a:gd name="connsiteX5" fmla="*/ 3175 w 3390900"/>
              <a:gd name="connsiteY5" fmla="*/ 2318385 h 23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90900" h="2317750">
                <a:moveTo>
                  <a:pt x="3175" y="2318385"/>
                </a:moveTo>
                <a:cubicBezTo>
                  <a:pt x="435610" y="1430020"/>
                  <a:pt x="1181100" y="679450"/>
                  <a:pt x="1831340" y="929640"/>
                </a:cubicBezTo>
                <a:cubicBezTo>
                  <a:pt x="2513965" y="1192530"/>
                  <a:pt x="3616960" y="876935"/>
                  <a:pt x="3354070" y="89535"/>
                </a:cubicBezTo>
                <a:cubicBezTo>
                  <a:pt x="3344545" y="60325"/>
                  <a:pt x="3331845" y="31115"/>
                  <a:pt x="3317875" y="3175"/>
                </a:cubicBezTo>
                <a:lnTo>
                  <a:pt x="3175" y="3175"/>
                </a:lnTo>
                <a:lnTo>
                  <a:pt x="3175" y="2318385"/>
                </a:lnTo>
                <a:close/>
              </a:path>
            </a:pathLst>
          </a:custGeom>
          <a:solidFill>
            <a:srgbClr val="C1DC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1" name="任意多边形: 形状 9853">
            <a:extLst>
              <a:ext uri="{FF2B5EF4-FFF2-40B4-BE49-F238E27FC236}">
                <a16:creationId xmlns:a16="http://schemas.microsoft.com/office/drawing/2014/main" id="{1D6433B4-443D-497B-B60E-9CFC49A0DFCD}"/>
              </a:ext>
            </a:extLst>
          </p:cNvPr>
          <p:cNvSpPr/>
          <p:nvPr userDrawn="1"/>
        </p:nvSpPr>
        <p:spPr>
          <a:xfrm>
            <a:off x="717550" y="533400"/>
            <a:ext cx="2736850" cy="1536700"/>
          </a:xfrm>
          <a:custGeom>
            <a:avLst/>
            <a:gdLst>
              <a:gd name="connsiteX0" fmla="*/ 3175 w 2736850"/>
              <a:gd name="connsiteY0" fmla="*/ 1534160 h 1536700"/>
              <a:gd name="connsiteX1" fmla="*/ 1402080 w 2736850"/>
              <a:gd name="connsiteY1" fmla="*/ 643255 h 1536700"/>
              <a:gd name="connsiteX2" fmla="*/ 2721610 w 2736850"/>
              <a:gd name="connsiteY2" fmla="*/ 3175 h 1536700"/>
              <a:gd name="connsiteX3" fmla="*/ 3175 w 2736850"/>
              <a:gd name="connsiteY3" fmla="*/ 3175 h 1536700"/>
              <a:gd name="connsiteX4" fmla="*/ 3175 w 2736850"/>
              <a:gd name="connsiteY4" fmla="*/ 1534160 h 153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36850" h="1536700">
                <a:moveTo>
                  <a:pt x="3175" y="1534160"/>
                </a:moveTo>
                <a:cubicBezTo>
                  <a:pt x="379095" y="915035"/>
                  <a:pt x="921385" y="458470"/>
                  <a:pt x="1402080" y="643255"/>
                </a:cubicBezTo>
                <a:cubicBezTo>
                  <a:pt x="1961515" y="858520"/>
                  <a:pt x="2852420" y="618490"/>
                  <a:pt x="2721610" y="3175"/>
                </a:cubicBezTo>
                <a:lnTo>
                  <a:pt x="3175" y="3175"/>
                </a:lnTo>
                <a:lnTo>
                  <a:pt x="3175" y="1534160"/>
                </a:lnTo>
                <a:close/>
              </a:path>
            </a:pathLst>
          </a:custGeom>
          <a:solidFill>
            <a:srgbClr val="ABC2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383699" y="1835871"/>
            <a:ext cx="5470981" cy="128908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rgbClr val="0E457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83698" y="3152811"/>
            <a:ext cx="5844995" cy="42570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0E457D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83698" y="4484238"/>
            <a:ext cx="2315101" cy="258922"/>
          </a:xfrm>
          <a:prstGeom prst="roundRect">
            <a:avLst>
              <a:gd name="adj" fmla="val 43154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83699" y="4854433"/>
            <a:ext cx="5844996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0E457D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702F86C1-24CD-49C9-B4DA-98D45882771F}"/>
              </a:ext>
            </a:extLst>
          </p:cNvPr>
          <p:cNvGrpSpPr/>
          <p:nvPr userDrawn="1"/>
        </p:nvGrpSpPr>
        <p:grpSpPr>
          <a:xfrm>
            <a:off x="5889782" y="893221"/>
            <a:ext cx="5228505" cy="5016206"/>
            <a:chOff x="5889782" y="893221"/>
            <a:chExt cx="5228505" cy="5016206"/>
          </a:xfrm>
        </p:grpSpPr>
        <p:sp>
          <p:nvSpPr>
            <p:cNvPr id="1128" name="îṣḷïde">
              <a:extLst>
                <a:ext uri="{FF2B5EF4-FFF2-40B4-BE49-F238E27FC236}">
                  <a16:creationId xmlns:a16="http://schemas.microsoft.com/office/drawing/2014/main" id="{0BAACA35-B8F5-49E4-BDF2-28AD92F51B89}"/>
                </a:ext>
              </a:extLst>
            </p:cNvPr>
            <p:cNvSpPr/>
            <p:nvPr userDrawn="1"/>
          </p:nvSpPr>
          <p:spPr bwMode="auto">
            <a:xfrm>
              <a:off x="6241970" y="2667325"/>
              <a:ext cx="648420" cy="1525598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9" name="ïšḻíḍê">
              <a:extLst>
                <a:ext uri="{FF2B5EF4-FFF2-40B4-BE49-F238E27FC236}">
                  <a16:creationId xmlns:a16="http://schemas.microsoft.com/office/drawing/2014/main" id="{51781B7F-5616-415D-B826-A2DBE6904BE6}"/>
                </a:ext>
              </a:extLst>
            </p:cNvPr>
            <p:cNvSpPr/>
            <p:nvPr userDrawn="1"/>
          </p:nvSpPr>
          <p:spPr bwMode="auto">
            <a:xfrm>
              <a:off x="6783417" y="2667325"/>
              <a:ext cx="106973" cy="255090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0" name="íšḷiḑe">
              <a:extLst>
                <a:ext uri="{FF2B5EF4-FFF2-40B4-BE49-F238E27FC236}">
                  <a16:creationId xmlns:a16="http://schemas.microsoft.com/office/drawing/2014/main" id="{36D4FDD1-D4E5-4DCD-B2B0-AA38156B2677}"/>
                </a:ext>
              </a:extLst>
            </p:cNvPr>
            <p:cNvSpPr/>
            <p:nvPr userDrawn="1"/>
          </p:nvSpPr>
          <p:spPr bwMode="auto">
            <a:xfrm>
              <a:off x="8944269" y="1284906"/>
              <a:ext cx="1456477" cy="1454831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1" name="îṩ1iḑé">
              <a:extLst>
                <a:ext uri="{FF2B5EF4-FFF2-40B4-BE49-F238E27FC236}">
                  <a16:creationId xmlns:a16="http://schemas.microsoft.com/office/drawing/2014/main" id="{EB56D6B5-B21E-4122-A4AE-60BD6B59BB85}"/>
                </a:ext>
              </a:extLst>
            </p:cNvPr>
            <p:cNvSpPr/>
            <p:nvPr userDrawn="1"/>
          </p:nvSpPr>
          <p:spPr bwMode="auto">
            <a:xfrm>
              <a:off x="10476450" y="1681529"/>
              <a:ext cx="641837" cy="641837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2" name="ïṧ1îďê">
              <a:extLst>
                <a:ext uri="{FF2B5EF4-FFF2-40B4-BE49-F238E27FC236}">
                  <a16:creationId xmlns:a16="http://schemas.microsoft.com/office/drawing/2014/main" id="{980274B5-FEE3-4ADA-B6E6-89346A994BEF}"/>
                </a:ext>
              </a:extLst>
            </p:cNvPr>
            <p:cNvSpPr/>
            <p:nvPr userDrawn="1"/>
          </p:nvSpPr>
          <p:spPr bwMode="auto">
            <a:xfrm>
              <a:off x="8132921" y="893221"/>
              <a:ext cx="947944" cy="944653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3" name="íşlïďê">
              <a:extLst>
                <a:ext uri="{FF2B5EF4-FFF2-40B4-BE49-F238E27FC236}">
                  <a16:creationId xmlns:a16="http://schemas.microsoft.com/office/drawing/2014/main" id="{85DB3A15-AB74-4EC4-89E1-54F8EC958C30}"/>
                </a:ext>
              </a:extLst>
            </p:cNvPr>
            <p:cNvSpPr/>
            <p:nvPr userDrawn="1"/>
          </p:nvSpPr>
          <p:spPr bwMode="auto">
            <a:xfrm>
              <a:off x="5889782" y="4192923"/>
              <a:ext cx="5045828" cy="130014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4" name="íśḷïdè">
              <a:extLst>
                <a:ext uri="{FF2B5EF4-FFF2-40B4-BE49-F238E27FC236}">
                  <a16:creationId xmlns:a16="http://schemas.microsoft.com/office/drawing/2014/main" id="{DF070FDD-3B3F-42A2-9C90-11DE14A3DA5C}"/>
                </a:ext>
              </a:extLst>
            </p:cNvPr>
            <p:cNvSpPr/>
            <p:nvPr userDrawn="1"/>
          </p:nvSpPr>
          <p:spPr bwMode="auto">
            <a:xfrm>
              <a:off x="5893073" y="4285085"/>
              <a:ext cx="5037600" cy="37852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5" name="îṥlïḋê">
              <a:extLst>
                <a:ext uri="{FF2B5EF4-FFF2-40B4-BE49-F238E27FC236}">
                  <a16:creationId xmlns:a16="http://schemas.microsoft.com/office/drawing/2014/main" id="{5AA64555-A021-4CA7-A924-45D5A726CC58}"/>
                </a:ext>
              </a:extLst>
            </p:cNvPr>
            <p:cNvSpPr/>
            <p:nvPr userDrawn="1"/>
          </p:nvSpPr>
          <p:spPr bwMode="auto">
            <a:xfrm>
              <a:off x="7403859" y="4123802"/>
              <a:ext cx="1823476" cy="69121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6" name="îṣľíḑê">
              <a:extLst>
                <a:ext uri="{FF2B5EF4-FFF2-40B4-BE49-F238E27FC236}">
                  <a16:creationId xmlns:a16="http://schemas.microsoft.com/office/drawing/2014/main" id="{6FB22006-4AD4-4B3C-8AE3-96A4C69E8CA9}"/>
                </a:ext>
              </a:extLst>
            </p:cNvPr>
            <p:cNvSpPr/>
            <p:nvPr userDrawn="1"/>
          </p:nvSpPr>
          <p:spPr bwMode="auto">
            <a:xfrm>
              <a:off x="7589828" y="4123802"/>
              <a:ext cx="1823476" cy="69121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7" name="iṩ1idè">
              <a:extLst>
                <a:ext uri="{FF2B5EF4-FFF2-40B4-BE49-F238E27FC236}">
                  <a16:creationId xmlns:a16="http://schemas.microsoft.com/office/drawing/2014/main" id="{14D09A72-7FDC-4DF1-9BB5-DD2BDB039053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826768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3E47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9" name="ïŝḻïḓè">
              <a:extLst>
                <a:ext uri="{FF2B5EF4-FFF2-40B4-BE49-F238E27FC236}">
                  <a16:creationId xmlns:a16="http://schemas.microsoft.com/office/drawing/2014/main" id="{C3DB54A8-9D12-4E09-8326-69DA8BA64F54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90905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0" name="íṧľîḑe">
              <a:extLst>
                <a:ext uri="{FF2B5EF4-FFF2-40B4-BE49-F238E27FC236}">
                  <a16:creationId xmlns:a16="http://schemas.microsoft.com/office/drawing/2014/main" id="{D06E1C7D-10B1-46DD-8837-D0D9ED23AF29}"/>
                </a:ext>
              </a:extLst>
            </p:cNvPr>
            <p:cNvSpPr/>
            <p:nvPr userDrawn="1"/>
          </p:nvSpPr>
          <p:spPr bwMode="auto">
            <a:xfrm>
              <a:off x="8649682" y="2815441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1" name="ísļídè">
              <a:extLst>
                <a:ext uri="{FF2B5EF4-FFF2-40B4-BE49-F238E27FC236}">
                  <a16:creationId xmlns:a16="http://schemas.microsoft.com/office/drawing/2014/main" id="{540BD6BA-B67B-4C03-9BC3-ED00C075C9EF}"/>
                </a:ext>
              </a:extLst>
            </p:cNvPr>
            <p:cNvSpPr/>
            <p:nvPr userDrawn="1"/>
          </p:nvSpPr>
          <p:spPr bwMode="auto">
            <a:xfrm>
              <a:off x="8649682" y="2948746"/>
              <a:ext cx="503595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2" name="îSlíḑè">
              <a:extLst>
                <a:ext uri="{FF2B5EF4-FFF2-40B4-BE49-F238E27FC236}">
                  <a16:creationId xmlns:a16="http://schemas.microsoft.com/office/drawing/2014/main" id="{48D2C1FF-CA7F-4364-ACA8-E86E9C4A2FB9}"/>
                </a:ext>
              </a:extLst>
            </p:cNvPr>
            <p:cNvSpPr/>
            <p:nvPr userDrawn="1"/>
          </p:nvSpPr>
          <p:spPr bwMode="auto">
            <a:xfrm>
              <a:off x="9204295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3" name="ïslíďê">
              <a:extLst>
                <a:ext uri="{FF2B5EF4-FFF2-40B4-BE49-F238E27FC236}">
                  <a16:creationId xmlns:a16="http://schemas.microsoft.com/office/drawing/2014/main" id="{ABB148EF-2A54-4095-9A91-5040573014B5}"/>
                </a:ext>
              </a:extLst>
            </p:cNvPr>
            <p:cNvSpPr/>
            <p:nvPr userDrawn="1"/>
          </p:nvSpPr>
          <p:spPr bwMode="auto">
            <a:xfrm>
              <a:off x="8649682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4" name="íṥļïďé">
              <a:extLst>
                <a:ext uri="{FF2B5EF4-FFF2-40B4-BE49-F238E27FC236}">
                  <a16:creationId xmlns:a16="http://schemas.microsoft.com/office/drawing/2014/main" id="{873428B1-5B23-4769-A0A3-FD01B2E619AC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5" name="ïṧḻiďê">
              <a:extLst>
                <a:ext uri="{FF2B5EF4-FFF2-40B4-BE49-F238E27FC236}">
                  <a16:creationId xmlns:a16="http://schemas.microsoft.com/office/drawing/2014/main" id="{EB0837A3-A486-4C63-99EC-8F080016F569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6" name="îṩḻiḓê">
              <a:extLst>
                <a:ext uri="{FF2B5EF4-FFF2-40B4-BE49-F238E27FC236}">
                  <a16:creationId xmlns:a16="http://schemas.microsoft.com/office/drawing/2014/main" id="{406BF31B-9AB2-44E3-9C34-ECFB97EF68DF}"/>
                </a:ext>
              </a:extLst>
            </p:cNvPr>
            <p:cNvSpPr/>
            <p:nvPr userDrawn="1"/>
          </p:nvSpPr>
          <p:spPr bwMode="auto">
            <a:xfrm>
              <a:off x="9146695" y="2815441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7" name="îŝ1îḍê">
              <a:extLst>
                <a:ext uri="{FF2B5EF4-FFF2-40B4-BE49-F238E27FC236}">
                  <a16:creationId xmlns:a16="http://schemas.microsoft.com/office/drawing/2014/main" id="{2A055191-2855-4659-8E24-A69CF63CC376}"/>
                </a:ext>
              </a:extLst>
            </p:cNvPr>
            <p:cNvSpPr/>
            <p:nvPr userDrawn="1"/>
          </p:nvSpPr>
          <p:spPr bwMode="auto">
            <a:xfrm>
              <a:off x="8649682" y="2185125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8" name="iṩ1îďé">
              <a:extLst>
                <a:ext uri="{FF2B5EF4-FFF2-40B4-BE49-F238E27FC236}">
                  <a16:creationId xmlns:a16="http://schemas.microsoft.com/office/drawing/2014/main" id="{48CEF17B-25F9-497F-A827-D0119AD60755}"/>
                </a:ext>
              </a:extLst>
            </p:cNvPr>
            <p:cNvSpPr/>
            <p:nvPr userDrawn="1"/>
          </p:nvSpPr>
          <p:spPr bwMode="auto">
            <a:xfrm>
              <a:off x="8649682" y="2320075"/>
              <a:ext cx="503595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9" name="iSḻíḍe">
              <a:extLst>
                <a:ext uri="{FF2B5EF4-FFF2-40B4-BE49-F238E27FC236}">
                  <a16:creationId xmlns:a16="http://schemas.microsoft.com/office/drawing/2014/main" id="{F225C5E7-7304-4C79-BFAE-2F8B07F08B2D}"/>
                </a:ext>
              </a:extLst>
            </p:cNvPr>
            <p:cNvSpPr/>
            <p:nvPr userDrawn="1"/>
          </p:nvSpPr>
          <p:spPr bwMode="auto">
            <a:xfrm>
              <a:off x="9204295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0" name="íṥ1iḍè">
              <a:extLst>
                <a:ext uri="{FF2B5EF4-FFF2-40B4-BE49-F238E27FC236}">
                  <a16:creationId xmlns:a16="http://schemas.microsoft.com/office/drawing/2014/main" id="{200E071C-D07C-40C7-8E35-2466C97BE710}"/>
                </a:ext>
              </a:extLst>
            </p:cNvPr>
            <p:cNvSpPr/>
            <p:nvPr userDrawn="1"/>
          </p:nvSpPr>
          <p:spPr bwMode="auto">
            <a:xfrm>
              <a:off x="8649682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1" name="íṡ1íḓe">
              <a:extLst>
                <a:ext uri="{FF2B5EF4-FFF2-40B4-BE49-F238E27FC236}">
                  <a16:creationId xmlns:a16="http://schemas.microsoft.com/office/drawing/2014/main" id="{BE25401D-960A-4B1C-B168-DBFF07FF2D3A}"/>
                </a:ext>
              </a:extLst>
            </p:cNvPr>
            <p:cNvSpPr/>
            <p:nvPr userDrawn="1"/>
          </p:nvSpPr>
          <p:spPr bwMode="auto">
            <a:xfrm>
              <a:off x="8916292" y="2453379"/>
              <a:ext cx="742228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2" name="íŝľíḑe">
              <a:extLst>
                <a:ext uri="{FF2B5EF4-FFF2-40B4-BE49-F238E27FC236}">
                  <a16:creationId xmlns:a16="http://schemas.microsoft.com/office/drawing/2014/main" id="{C5B4C4D9-139F-4D4F-94BF-58A605B41A48}"/>
                </a:ext>
              </a:extLst>
            </p:cNvPr>
            <p:cNvSpPr/>
            <p:nvPr userDrawn="1"/>
          </p:nvSpPr>
          <p:spPr bwMode="auto">
            <a:xfrm>
              <a:off x="9146695" y="2185125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3" name="ïṥ1îḓè">
              <a:extLst>
                <a:ext uri="{FF2B5EF4-FFF2-40B4-BE49-F238E27FC236}">
                  <a16:creationId xmlns:a16="http://schemas.microsoft.com/office/drawing/2014/main" id="{45897B7C-5CF3-4D23-B816-3B2A57853241}"/>
                </a:ext>
              </a:extLst>
            </p:cNvPr>
            <p:cNvSpPr/>
            <p:nvPr userDrawn="1"/>
          </p:nvSpPr>
          <p:spPr bwMode="auto">
            <a:xfrm>
              <a:off x="7280430" y="2815441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4" name="íṡḷidê">
              <a:extLst>
                <a:ext uri="{FF2B5EF4-FFF2-40B4-BE49-F238E27FC236}">
                  <a16:creationId xmlns:a16="http://schemas.microsoft.com/office/drawing/2014/main" id="{A916F33C-EA89-49B2-A647-F1E9D5793283}"/>
                </a:ext>
              </a:extLst>
            </p:cNvPr>
            <p:cNvSpPr/>
            <p:nvPr userDrawn="1"/>
          </p:nvSpPr>
          <p:spPr bwMode="auto">
            <a:xfrm>
              <a:off x="7280430" y="2948746"/>
              <a:ext cx="501950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5" name="ïSḻïḑe">
              <a:extLst>
                <a:ext uri="{FF2B5EF4-FFF2-40B4-BE49-F238E27FC236}">
                  <a16:creationId xmlns:a16="http://schemas.microsoft.com/office/drawing/2014/main" id="{40732D72-1904-41BF-967A-052BF1D55673}"/>
                </a:ext>
              </a:extLst>
            </p:cNvPr>
            <p:cNvSpPr/>
            <p:nvPr userDrawn="1"/>
          </p:nvSpPr>
          <p:spPr bwMode="auto">
            <a:xfrm>
              <a:off x="7835042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6" name="ïŝlîḋe">
              <a:extLst>
                <a:ext uri="{FF2B5EF4-FFF2-40B4-BE49-F238E27FC236}">
                  <a16:creationId xmlns:a16="http://schemas.microsoft.com/office/drawing/2014/main" id="{03A6DF9F-0C46-4097-893F-268FE8AC6CE9}"/>
                </a:ext>
              </a:extLst>
            </p:cNvPr>
            <p:cNvSpPr/>
            <p:nvPr userDrawn="1"/>
          </p:nvSpPr>
          <p:spPr bwMode="auto">
            <a:xfrm>
              <a:off x="7280430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7" name="ïṣḷidè">
              <a:extLst>
                <a:ext uri="{FF2B5EF4-FFF2-40B4-BE49-F238E27FC236}">
                  <a16:creationId xmlns:a16="http://schemas.microsoft.com/office/drawing/2014/main" id="{8E5AE3FF-52EE-43D9-8424-2990E578D4D6}"/>
                </a:ext>
              </a:extLst>
            </p:cNvPr>
            <p:cNvSpPr/>
            <p:nvPr userDrawn="1"/>
          </p:nvSpPr>
          <p:spPr bwMode="auto">
            <a:xfrm>
              <a:off x="7548684" y="3082051"/>
              <a:ext cx="737290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8" name="íṧľîḓê">
              <a:extLst>
                <a:ext uri="{FF2B5EF4-FFF2-40B4-BE49-F238E27FC236}">
                  <a16:creationId xmlns:a16="http://schemas.microsoft.com/office/drawing/2014/main" id="{B7C6134D-3669-40C7-90EF-C583EF46ACA0}"/>
                </a:ext>
              </a:extLst>
            </p:cNvPr>
            <p:cNvSpPr/>
            <p:nvPr userDrawn="1"/>
          </p:nvSpPr>
          <p:spPr bwMode="auto">
            <a:xfrm>
              <a:off x="7777442" y="2815441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9" name="ïšḷîḓe">
              <a:extLst>
                <a:ext uri="{FF2B5EF4-FFF2-40B4-BE49-F238E27FC236}">
                  <a16:creationId xmlns:a16="http://schemas.microsoft.com/office/drawing/2014/main" id="{EB0E05C4-9AAA-4268-AE57-D0A5C45F17E5}"/>
                </a:ext>
              </a:extLst>
            </p:cNvPr>
            <p:cNvSpPr/>
            <p:nvPr userDrawn="1"/>
          </p:nvSpPr>
          <p:spPr bwMode="auto">
            <a:xfrm>
              <a:off x="7280430" y="2185125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0" name="îśliḍé">
              <a:extLst>
                <a:ext uri="{FF2B5EF4-FFF2-40B4-BE49-F238E27FC236}">
                  <a16:creationId xmlns:a16="http://schemas.microsoft.com/office/drawing/2014/main" id="{452F5EF2-338C-4F52-A8F8-A30DD2745932}"/>
                </a:ext>
              </a:extLst>
            </p:cNvPr>
            <p:cNvSpPr/>
            <p:nvPr userDrawn="1"/>
          </p:nvSpPr>
          <p:spPr bwMode="auto">
            <a:xfrm>
              <a:off x="7280430" y="2320075"/>
              <a:ext cx="501950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1" name="iṥ1iḍê">
              <a:extLst>
                <a:ext uri="{FF2B5EF4-FFF2-40B4-BE49-F238E27FC236}">
                  <a16:creationId xmlns:a16="http://schemas.microsoft.com/office/drawing/2014/main" id="{8EE38444-E3C8-4A2C-8CE9-D938B1A49990}"/>
                </a:ext>
              </a:extLst>
            </p:cNvPr>
            <p:cNvSpPr/>
            <p:nvPr userDrawn="1"/>
          </p:nvSpPr>
          <p:spPr bwMode="auto">
            <a:xfrm>
              <a:off x="7835042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2" name="ïSlïḑe">
              <a:extLst>
                <a:ext uri="{FF2B5EF4-FFF2-40B4-BE49-F238E27FC236}">
                  <a16:creationId xmlns:a16="http://schemas.microsoft.com/office/drawing/2014/main" id="{B672D154-68A6-4442-AF47-A18575FB19D8}"/>
                </a:ext>
              </a:extLst>
            </p:cNvPr>
            <p:cNvSpPr/>
            <p:nvPr userDrawn="1"/>
          </p:nvSpPr>
          <p:spPr bwMode="auto">
            <a:xfrm>
              <a:off x="7280430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3" name="ïśľîďe">
              <a:extLst>
                <a:ext uri="{FF2B5EF4-FFF2-40B4-BE49-F238E27FC236}">
                  <a16:creationId xmlns:a16="http://schemas.microsoft.com/office/drawing/2014/main" id="{ADAF3EE8-D7DE-489F-B071-21F62183CA87}"/>
                </a:ext>
              </a:extLst>
            </p:cNvPr>
            <p:cNvSpPr/>
            <p:nvPr userDrawn="1"/>
          </p:nvSpPr>
          <p:spPr bwMode="auto">
            <a:xfrm>
              <a:off x="7548684" y="2453379"/>
              <a:ext cx="737290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4" name="îṡľiďé">
              <a:extLst>
                <a:ext uri="{FF2B5EF4-FFF2-40B4-BE49-F238E27FC236}">
                  <a16:creationId xmlns:a16="http://schemas.microsoft.com/office/drawing/2014/main" id="{A52F0A3B-06FE-469A-8377-CC27084C8BED}"/>
                </a:ext>
              </a:extLst>
            </p:cNvPr>
            <p:cNvSpPr/>
            <p:nvPr userDrawn="1"/>
          </p:nvSpPr>
          <p:spPr bwMode="auto">
            <a:xfrm>
              <a:off x="7777442" y="2185125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5" name="ís1iḋê">
              <a:extLst>
                <a:ext uri="{FF2B5EF4-FFF2-40B4-BE49-F238E27FC236}">
                  <a16:creationId xmlns:a16="http://schemas.microsoft.com/office/drawing/2014/main" id="{D57A5B1F-346A-4492-9CC0-4255B170E7E6}"/>
                </a:ext>
              </a:extLst>
            </p:cNvPr>
            <p:cNvSpPr/>
            <p:nvPr userDrawn="1"/>
          </p:nvSpPr>
          <p:spPr bwMode="auto">
            <a:xfrm>
              <a:off x="6890390" y="1816480"/>
              <a:ext cx="3054487" cy="1948552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7" name="iSľíḑé">
              <a:extLst>
                <a:ext uri="{FF2B5EF4-FFF2-40B4-BE49-F238E27FC236}">
                  <a16:creationId xmlns:a16="http://schemas.microsoft.com/office/drawing/2014/main" id="{38B1ACC9-D7E8-4AF2-B7EE-99DF6094FC5A}"/>
                </a:ext>
              </a:extLst>
            </p:cNvPr>
            <p:cNvSpPr/>
            <p:nvPr userDrawn="1"/>
          </p:nvSpPr>
          <p:spPr bwMode="auto">
            <a:xfrm>
              <a:off x="9424824" y="3142943"/>
              <a:ext cx="106973" cy="8229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8" name="îslîďè">
              <a:extLst>
                <a:ext uri="{FF2B5EF4-FFF2-40B4-BE49-F238E27FC236}">
                  <a16:creationId xmlns:a16="http://schemas.microsoft.com/office/drawing/2014/main" id="{DC52AEDF-331F-417B-91C2-5647FB3772C0}"/>
                </a:ext>
              </a:extLst>
            </p:cNvPr>
            <p:cNvSpPr/>
            <p:nvPr userDrawn="1"/>
          </p:nvSpPr>
          <p:spPr bwMode="auto">
            <a:xfrm>
              <a:off x="9268479" y="3371700"/>
              <a:ext cx="653358" cy="386749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9" name="îSľiḑe">
              <a:extLst>
                <a:ext uri="{FF2B5EF4-FFF2-40B4-BE49-F238E27FC236}">
                  <a16:creationId xmlns:a16="http://schemas.microsoft.com/office/drawing/2014/main" id="{3F70D03F-0E09-490C-95E8-11A4013CB827}"/>
                </a:ext>
              </a:extLst>
            </p:cNvPr>
            <p:cNvSpPr/>
            <p:nvPr userDrawn="1"/>
          </p:nvSpPr>
          <p:spPr bwMode="auto">
            <a:xfrm>
              <a:off x="7017112" y="1906995"/>
              <a:ext cx="2805981" cy="115202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0" name="íSļíḓè">
              <a:extLst>
                <a:ext uri="{FF2B5EF4-FFF2-40B4-BE49-F238E27FC236}">
                  <a16:creationId xmlns:a16="http://schemas.microsoft.com/office/drawing/2014/main" id="{47E22736-BFE4-440D-975A-C20257A3F918}"/>
                </a:ext>
              </a:extLst>
            </p:cNvPr>
            <p:cNvSpPr/>
            <p:nvPr userDrawn="1"/>
          </p:nvSpPr>
          <p:spPr bwMode="auto">
            <a:xfrm>
              <a:off x="6890390" y="3532982"/>
              <a:ext cx="3054487" cy="232049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1" name="ïṧḻídé">
              <a:extLst>
                <a:ext uri="{FF2B5EF4-FFF2-40B4-BE49-F238E27FC236}">
                  <a16:creationId xmlns:a16="http://schemas.microsoft.com/office/drawing/2014/main" id="{1E2D50C2-413C-4015-B222-2A29038F76B0}"/>
                </a:ext>
              </a:extLst>
            </p:cNvPr>
            <p:cNvSpPr/>
            <p:nvPr userDrawn="1"/>
          </p:nvSpPr>
          <p:spPr bwMode="auto">
            <a:xfrm>
              <a:off x="9627250" y="1976116"/>
              <a:ext cx="62538" cy="60893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2" name="iṧlïḋê">
              <a:extLst>
                <a:ext uri="{FF2B5EF4-FFF2-40B4-BE49-F238E27FC236}">
                  <a16:creationId xmlns:a16="http://schemas.microsoft.com/office/drawing/2014/main" id="{4C7A2F1F-B975-468D-93B1-704F7B7AEDA6}"/>
                </a:ext>
              </a:extLst>
            </p:cNvPr>
            <p:cNvSpPr/>
            <p:nvPr userDrawn="1"/>
          </p:nvSpPr>
          <p:spPr bwMode="auto">
            <a:xfrm>
              <a:off x="9520276" y="1976116"/>
              <a:ext cx="62538" cy="6089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3" name="ïSḷîḍê">
              <a:extLst>
                <a:ext uri="{FF2B5EF4-FFF2-40B4-BE49-F238E27FC236}">
                  <a16:creationId xmlns:a16="http://schemas.microsoft.com/office/drawing/2014/main" id="{7C0A5E28-BECA-42F0-ABAA-726549D61AFD}"/>
                </a:ext>
              </a:extLst>
            </p:cNvPr>
            <p:cNvSpPr/>
            <p:nvPr userDrawn="1"/>
          </p:nvSpPr>
          <p:spPr bwMode="auto">
            <a:xfrm>
              <a:off x="9413304" y="1976116"/>
              <a:ext cx="62538" cy="60893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4" name="íşlîḍe">
              <a:extLst>
                <a:ext uri="{FF2B5EF4-FFF2-40B4-BE49-F238E27FC236}">
                  <a16:creationId xmlns:a16="http://schemas.microsoft.com/office/drawing/2014/main" id="{1A89977D-8D6E-419C-B458-1008D447951A}"/>
                </a:ext>
              </a:extLst>
            </p:cNvPr>
            <p:cNvSpPr/>
            <p:nvPr userDrawn="1"/>
          </p:nvSpPr>
          <p:spPr bwMode="auto">
            <a:xfrm>
              <a:off x="6696193" y="2598204"/>
              <a:ext cx="768559" cy="1594719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5" name="îṧliḓe">
              <a:extLst>
                <a:ext uri="{FF2B5EF4-FFF2-40B4-BE49-F238E27FC236}">
                  <a16:creationId xmlns:a16="http://schemas.microsoft.com/office/drawing/2014/main" id="{854CA286-7FF2-442C-8399-AC07CD799772}"/>
                </a:ext>
              </a:extLst>
            </p:cNvPr>
            <p:cNvSpPr/>
            <p:nvPr userDrawn="1"/>
          </p:nvSpPr>
          <p:spPr bwMode="auto">
            <a:xfrm>
              <a:off x="6806458" y="2876334"/>
              <a:ext cx="473972" cy="98744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6" name="ïšľïḍê">
              <a:extLst>
                <a:ext uri="{FF2B5EF4-FFF2-40B4-BE49-F238E27FC236}">
                  <a16:creationId xmlns:a16="http://schemas.microsoft.com/office/drawing/2014/main" id="{FA9B1DE8-7D4C-47AB-BD10-9F427F3643EB}"/>
                </a:ext>
              </a:extLst>
            </p:cNvPr>
            <p:cNvSpPr/>
            <p:nvPr userDrawn="1"/>
          </p:nvSpPr>
          <p:spPr bwMode="auto">
            <a:xfrm>
              <a:off x="6676444" y="3226875"/>
              <a:ext cx="470681" cy="10039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7" name="ïṡ1îḍe">
              <a:extLst>
                <a:ext uri="{FF2B5EF4-FFF2-40B4-BE49-F238E27FC236}">
                  <a16:creationId xmlns:a16="http://schemas.microsoft.com/office/drawing/2014/main" id="{2093210A-1156-45DB-BB4C-0DCE7AD0D875}"/>
                </a:ext>
              </a:extLst>
            </p:cNvPr>
            <p:cNvSpPr/>
            <p:nvPr userDrawn="1"/>
          </p:nvSpPr>
          <p:spPr bwMode="auto">
            <a:xfrm>
              <a:off x="6523391" y="3579063"/>
              <a:ext cx="482201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8" name="iṧḷídè">
              <a:extLst>
                <a:ext uri="{FF2B5EF4-FFF2-40B4-BE49-F238E27FC236}">
                  <a16:creationId xmlns:a16="http://schemas.microsoft.com/office/drawing/2014/main" id="{85B7D714-828A-4436-9722-8E585221469D}"/>
                </a:ext>
              </a:extLst>
            </p:cNvPr>
            <p:cNvSpPr/>
            <p:nvPr userDrawn="1"/>
          </p:nvSpPr>
          <p:spPr bwMode="auto">
            <a:xfrm>
              <a:off x="6383503" y="3929605"/>
              <a:ext cx="465744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9" name="íṥļïďê">
              <a:extLst>
                <a:ext uri="{FF2B5EF4-FFF2-40B4-BE49-F238E27FC236}">
                  <a16:creationId xmlns:a16="http://schemas.microsoft.com/office/drawing/2014/main" id="{87784FA9-5DAB-4CEA-92C6-1DFE9C3657A7}"/>
                </a:ext>
              </a:extLst>
            </p:cNvPr>
            <p:cNvSpPr/>
            <p:nvPr userDrawn="1"/>
          </p:nvSpPr>
          <p:spPr bwMode="auto">
            <a:xfrm>
              <a:off x="9329371" y="2991536"/>
              <a:ext cx="952882" cy="121290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0" name="iṡlîḑe">
              <a:extLst>
                <a:ext uri="{FF2B5EF4-FFF2-40B4-BE49-F238E27FC236}">
                  <a16:creationId xmlns:a16="http://schemas.microsoft.com/office/drawing/2014/main" id="{A1169987-8B8D-4BC8-92F5-645725EAC551}"/>
                </a:ext>
              </a:extLst>
            </p:cNvPr>
            <p:cNvSpPr/>
            <p:nvPr userDrawn="1"/>
          </p:nvSpPr>
          <p:spPr bwMode="auto">
            <a:xfrm>
              <a:off x="9666748" y="3391449"/>
              <a:ext cx="534865" cy="717541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3" name="îšļiḍé">
              <a:extLst>
                <a:ext uri="{FF2B5EF4-FFF2-40B4-BE49-F238E27FC236}">
                  <a16:creationId xmlns:a16="http://schemas.microsoft.com/office/drawing/2014/main" id="{E94F843E-1931-4CF4-A07C-516069F6EB04}"/>
                </a:ext>
              </a:extLst>
            </p:cNvPr>
            <p:cNvSpPr/>
            <p:nvPr userDrawn="1"/>
          </p:nvSpPr>
          <p:spPr bwMode="auto">
            <a:xfrm>
              <a:off x="8401176" y="4421680"/>
              <a:ext cx="783371" cy="1267217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4" name="í$ḷïḑe">
              <a:extLst>
                <a:ext uri="{FF2B5EF4-FFF2-40B4-BE49-F238E27FC236}">
                  <a16:creationId xmlns:a16="http://schemas.microsoft.com/office/drawing/2014/main" id="{C29BEDA5-B06B-4D27-B037-F5AED5D1574B}"/>
                </a:ext>
              </a:extLst>
            </p:cNvPr>
            <p:cNvSpPr/>
            <p:nvPr userDrawn="1"/>
          </p:nvSpPr>
          <p:spPr bwMode="auto">
            <a:xfrm>
              <a:off x="8661202" y="5688897"/>
              <a:ext cx="492076" cy="190905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5" name="ís1îḓe">
              <a:extLst>
                <a:ext uri="{FF2B5EF4-FFF2-40B4-BE49-F238E27FC236}">
                  <a16:creationId xmlns:a16="http://schemas.microsoft.com/office/drawing/2014/main" id="{3082BE92-7275-4477-8E76-3714C3FF5443}"/>
                </a:ext>
              </a:extLst>
            </p:cNvPr>
            <p:cNvSpPr/>
            <p:nvPr userDrawn="1"/>
          </p:nvSpPr>
          <p:spPr bwMode="auto">
            <a:xfrm>
              <a:off x="7644137" y="4421680"/>
              <a:ext cx="783371" cy="1267217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8" name="ïṥļîdê">
              <a:extLst>
                <a:ext uri="{FF2B5EF4-FFF2-40B4-BE49-F238E27FC236}">
                  <a16:creationId xmlns:a16="http://schemas.microsoft.com/office/drawing/2014/main" id="{6509C9E9-F0A5-41D8-A60B-B1D7CCE406EF}"/>
                </a:ext>
              </a:extLst>
            </p:cNvPr>
            <p:cNvSpPr/>
            <p:nvPr userDrawn="1"/>
          </p:nvSpPr>
          <p:spPr bwMode="auto">
            <a:xfrm>
              <a:off x="7935433" y="2711760"/>
              <a:ext cx="197488" cy="294587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9" name="isḻîḋè">
              <a:extLst>
                <a:ext uri="{FF2B5EF4-FFF2-40B4-BE49-F238E27FC236}">
                  <a16:creationId xmlns:a16="http://schemas.microsoft.com/office/drawing/2014/main" id="{BCAD022A-2BB4-472F-A840-23B522639385}"/>
                </a:ext>
              </a:extLst>
            </p:cNvPr>
            <p:cNvSpPr/>
            <p:nvPr userDrawn="1"/>
          </p:nvSpPr>
          <p:spPr bwMode="auto">
            <a:xfrm>
              <a:off x="7979867" y="2784173"/>
              <a:ext cx="153054" cy="184322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0" name="íṥľïḓê">
              <a:extLst>
                <a:ext uri="{FF2B5EF4-FFF2-40B4-BE49-F238E27FC236}">
                  <a16:creationId xmlns:a16="http://schemas.microsoft.com/office/drawing/2014/main" id="{84E11F03-65D2-472A-B806-EC31231E8560}"/>
                </a:ext>
              </a:extLst>
            </p:cNvPr>
            <p:cNvSpPr/>
            <p:nvPr userDrawn="1"/>
          </p:nvSpPr>
          <p:spPr bwMode="auto">
            <a:xfrm>
              <a:off x="8011137" y="2789109"/>
              <a:ext cx="121784" cy="8393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1" name="íş1íḋê">
              <a:extLst>
                <a:ext uri="{FF2B5EF4-FFF2-40B4-BE49-F238E27FC236}">
                  <a16:creationId xmlns:a16="http://schemas.microsoft.com/office/drawing/2014/main" id="{265B95A3-5F30-4FC2-A4A7-9F23121DA964}"/>
                </a:ext>
              </a:extLst>
            </p:cNvPr>
            <p:cNvSpPr/>
            <p:nvPr userDrawn="1"/>
          </p:nvSpPr>
          <p:spPr bwMode="auto">
            <a:xfrm>
              <a:off x="8748427" y="2780881"/>
              <a:ext cx="222175" cy="297879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2" name="íṧḷíďè">
              <a:extLst>
                <a:ext uri="{FF2B5EF4-FFF2-40B4-BE49-F238E27FC236}">
                  <a16:creationId xmlns:a16="http://schemas.microsoft.com/office/drawing/2014/main" id="{7EB307C2-66A6-448A-8EF2-887D4820030E}"/>
                </a:ext>
              </a:extLst>
            </p:cNvPr>
            <p:cNvSpPr/>
            <p:nvPr userDrawn="1"/>
          </p:nvSpPr>
          <p:spPr bwMode="auto">
            <a:xfrm>
              <a:off x="8748427" y="2853294"/>
              <a:ext cx="179386" cy="182677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3" name="ïşlíďe">
              <a:extLst>
                <a:ext uri="{FF2B5EF4-FFF2-40B4-BE49-F238E27FC236}">
                  <a16:creationId xmlns:a16="http://schemas.microsoft.com/office/drawing/2014/main" id="{BCC22F31-6EDC-40F5-AA90-B5435AD95566}"/>
                </a:ext>
              </a:extLst>
            </p:cNvPr>
            <p:cNvSpPr/>
            <p:nvPr userDrawn="1"/>
          </p:nvSpPr>
          <p:spPr bwMode="auto">
            <a:xfrm>
              <a:off x="8764884" y="2861522"/>
              <a:ext cx="128367" cy="64184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4" name="íṧ1iḍé">
              <a:extLst>
                <a:ext uri="{FF2B5EF4-FFF2-40B4-BE49-F238E27FC236}">
                  <a16:creationId xmlns:a16="http://schemas.microsoft.com/office/drawing/2014/main" id="{C9504CCB-28EF-4A00-A933-5292602CF21B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5" name="íSḷíḍé">
              <a:extLst>
                <a:ext uri="{FF2B5EF4-FFF2-40B4-BE49-F238E27FC236}">
                  <a16:creationId xmlns:a16="http://schemas.microsoft.com/office/drawing/2014/main" id="{7EACEEDA-0104-47E3-9361-C75ED4FB9243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6" name="ï$lïďê">
              <a:extLst>
                <a:ext uri="{FF2B5EF4-FFF2-40B4-BE49-F238E27FC236}">
                  <a16:creationId xmlns:a16="http://schemas.microsoft.com/office/drawing/2014/main" id="{DDEAF4E3-2289-4F78-8E69-1051F1D900DE}"/>
                </a:ext>
              </a:extLst>
            </p:cNvPr>
            <p:cNvSpPr/>
            <p:nvPr userDrawn="1"/>
          </p:nvSpPr>
          <p:spPr bwMode="auto">
            <a:xfrm>
              <a:off x="8340284" y="3154463"/>
              <a:ext cx="182677" cy="92161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7" name="iṩlïḍe">
              <a:extLst>
                <a:ext uri="{FF2B5EF4-FFF2-40B4-BE49-F238E27FC236}">
                  <a16:creationId xmlns:a16="http://schemas.microsoft.com/office/drawing/2014/main" id="{EEB15323-3E5E-4EA2-BC14-74AA6034E31A}"/>
                </a:ext>
              </a:extLst>
            </p:cNvPr>
            <p:cNvSpPr/>
            <p:nvPr userDrawn="1"/>
          </p:nvSpPr>
          <p:spPr bwMode="auto">
            <a:xfrm>
              <a:off x="8086841" y="2441860"/>
              <a:ext cx="750456" cy="812994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8" name="iš1íḓè">
              <a:extLst>
                <a:ext uri="{FF2B5EF4-FFF2-40B4-BE49-F238E27FC236}">
                  <a16:creationId xmlns:a16="http://schemas.microsoft.com/office/drawing/2014/main" id="{FB6BD81C-6E5D-47F0-BB34-3B766D0EAEB0}"/>
                </a:ext>
              </a:extLst>
            </p:cNvPr>
            <p:cNvSpPr/>
            <p:nvPr userDrawn="1"/>
          </p:nvSpPr>
          <p:spPr bwMode="auto">
            <a:xfrm>
              <a:off x="8086841" y="2624536"/>
              <a:ext cx="4938" cy="106973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9" name="işļíḍê">
              <a:extLst>
                <a:ext uri="{FF2B5EF4-FFF2-40B4-BE49-F238E27FC236}">
                  <a16:creationId xmlns:a16="http://schemas.microsoft.com/office/drawing/2014/main" id="{7B86B38C-D93C-4170-B264-035D2D476A7A}"/>
                </a:ext>
              </a:extLst>
            </p:cNvPr>
            <p:cNvSpPr/>
            <p:nvPr userDrawn="1"/>
          </p:nvSpPr>
          <p:spPr bwMode="auto">
            <a:xfrm>
              <a:off x="7869603" y="2269057"/>
              <a:ext cx="1051626" cy="1007191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0" name="ïṡļíḋe">
              <a:extLst>
                <a:ext uri="{FF2B5EF4-FFF2-40B4-BE49-F238E27FC236}">
                  <a16:creationId xmlns:a16="http://schemas.microsoft.com/office/drawing/2014/main" id="{425DDDE3-FD47-4C2F-92D4-1BB0EEB89B81}"/>
                </a:ext>
              </a:extLst>
            </p:cNvPr>
            <p:cNvSpPr/>
            <p:nvPr userDrawn="1"/>
          </p:nvSpPr>
          <p:spPr bwMode="auto">
            <a:xfrm>
              <a:off x="7979867" y="2152210"/>
              <a:ext cx="891989" cy="743873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1" name="işľiḍê">
              <a:extLst>
                <a:ext uri="{FF2B5EF4-FFF2-40B4-BE49-F238E27FC236}">
                  <a16:creationId xmlns:a16="http://schemas.microsoft.com/office/drawing/2014/main" id="{2C0A9916-D892-44F9-9477-D9AE1C868060}"/>
                </a:ext>
              </a:extLst>
            </p:cNvPr>
            <p:cNvSpPr/>
            <p:nvPr userDrawn="1"/>
          </p:nvSpPr>
          <p:spPr bwMode="auto">
            <a:xfrm>
              <a:off x="7705030" y="3376638"/>
              <a:ext cx="1441665" cy="812994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2" name="işḻíḍé">
              <a:extLst>
                <a:ext uri="{FF2B5EF4-FFF2-40B4-BE49-F238E27FC236}">
                  <a16:creationId xmlns:a16="http://schemas.microsoft.com/office/drawing/2014/main" id="{0B7F69A2-5EB7-4398-A300-F6473A913EE7}"/>
                </a:ext>
              </a:extLst>
            </p:cNvPr>
            <p:cNvSpPr/>
            <p:nvPr userDrawn="1"/>
          </p:nvSpPr>
          <p:spPr bwMode="auto">
            <a:xfrm>
              <a:off x="7912393" y="3460570"/>
              <a:ext cx="1038460" cy="1224428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3" name="ïṣľïḓè">
              <a:extLst>
                <a:ext uri="{FF2B5EF4-FFF2-40B4-BE49-F238E27FC236}">
                  <a16:creationId xmlns:a16="http://schemas.microsoft.com/office/drawing/2014/main" id="{B439BE05-E6B7-49C2-A9D7-8B961D72535F}"/>
                </a:ext>
              </a:extLst>
            </p:cNvPr>
            <p:cNvSpPr/>
            <p:nvPr userDrawn="1"/>
          </p:nvSpPr>
          <p:spPr bwMode="auto">
            <a:xfrm>
              <a:off x="7961765" y="3460570"/>
              <a:ext cx="939716" cy="1152016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4" name="îšlídè">
              <a:extLst>
                <a:ext uri="{FF2B5EF4-FFF2-40B4-BE49-F238E27FC236}">
                  <a16:creationId xmlns:a16="http://schemas.microsoft.com/office/drawing/2014/main" id="{2444FEFA-AD39-45C4-A6EB-228191BBD7AF}"/>
                </a:ext>
              </a:extLst>
            </p:cNvPr>
            <p:cNvSpPr/>
            <p:nvPr userDrawn="1"/>
          </p:nvSpPr>
          <p:spPr bwMode="auto">
            <a:xfrm>
              <a:off x="7945307" y="2708469"/>
              <a:ext cx="941361" cy="610569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5" name="ïṩḷídé">
              <a:extLst>
                <a:ext uri="{FF2B5EF4-FFF2-40B4-BE49-F238E27FC236}">
                  <a16:creationId xmlns:a16="http://schemas.microsoft.com/office/drawing/2014/main" id="{65B09B65-DD99-43BC-BC3A-DB9FF9F2ABFF}"/>
                </a:ext>
              </a:extLst>
            </p:cNvPr>
            <p:cNvSpPr/>
            <p:nvPr userDrawn="1"/>
          </p:nvSpPr>
          <p:spPr bwMode="auto">
            <a:xfrm>
              <a:off x="8007845" y="2731509"/>
              <a:ext cx="821223" cy="534865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6" name="íŝliḓè">
              <a:extLst>
                <a:ext uri="{FF2B5EF4-FFF2-40B4-BE49-F238E27FC236}">
                  <a16:creationId xmlns:a16="http://schemas.microsoft.com/office/drawing/2014/main" id="{48296FFD-DB04-4589-813C-2CB5475A3B01}"/>
                </a:ext>
              </a:extLst>
            </p:cNvPr>
            <p:cNvSpPr/>
            <p:nvPr userDrawn="1"/>
          </p:nvSpPr>
          <p:spPr bwMode="auto">
            <a:xfrm>
              <a:off x="7805419" y="4704747"/>
              <a:ext cx="1214553" cy="284713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7" name="ïSľíḋê">
              <a:extLst>
                <a:ext uri="{FF2B5EF4-FFF2-40B4-BE49-F238E27FC236}">
                  <a16:creationId xmlns:a16="http://schemas.microsoft.com/office/drawing/2014/main" id="{6E575278-117E-48C6-9A90-0A02E061B476}"/>
                </a:ext>
              </a:extLst>
            </p:cNvPr>
            <p:cNvSpPr/>
            <p:nvPr userDrawn="1"/>
          </p:nvSpPr>
          <p:spPr bwMode="auto">
            <a:xfrm>
              <a:off x="7945307" y="4704747"/>
              <a:ext cx="929842" cy="72412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8" name="íšļiḑê">
              <a:extLst>
                <a:ext uri="{FF2B5EF4-FFF2-40B4-BE49-F238E27FC236}">
                  <a16:creationId xmlns:a16="http://schemas.microsoft.com/office/drawing/2014/main" id="{A5B4C972-F81E-4A36-97F5-5CB45073B33B}"/>
                </a:ext>
              </a:extLst>
            </p:cNvPr>
            <p:cNvSpPr/>
            <p:nvPr userDrawn="1"/>
          </p:nvSpPr>
          <p:spPr bwMode="auto">
            <a:xfrm>
              <a:off x="8351804" y="4989460"/>
              <a:ext cx="113556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9" name="îşļiḓè">
              <a:extLst>
                <a:ext uri="{FF2B5EF4-FFF2-40B4-BE49-F238E27FC236}">
                  <a16:creationId xmlns:a16="http://schemas.microsoft.com/office/drawing/2014/main" id="{0685CCE9-4C3B-458D-B689-D4CDADB1FE43}"/>
                </a:ext>
              </a:extLst>
            </p:cNvPr>
            <p:cNvSpPr/>
            <p:nvPr userDrawn="1"/>
          </p:nvSpPr>
          <p:spPr bwMode="auto">
            <a:xfrm>
              <a:off x="7815294" y="4875903"/>
              <a:ext cx="1193159" cy="113556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0" name="ïṥḻïḋê">
              <a:extLst>
                <a:ext uri="{FF2B5EF4-FFF2-40B4-BE49-F238E27FC236}">
                  <a16:creationId xmlns:a16="http://schemas.microsoft.com/office/drawing/2014/main" id="{18BB8CCB-7A37-4305-BC22-E897B2D7218F}"/>
                </a:ext>
              </a:extLst>
            </p:cNvPr>
            <p:cNvSpPr/>
            <p:nvPr userDrawn="1"/>
          </p:nvSpPr>
          <p:spPr bwMode="auto">
            <a:xfrm>
              <a:off x="8320535" y="4150134"/>
              <a:ext cx="179386" cy="1550284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1" name="işḻíḓé">
              <a:extLst>
                <a:ext uri="{FF2B5EF4-FFF2-40B4-BE49-F238E27FC236}">
                  <a16:creationId xmlns:a16="http://schemas.microsoft.com/office/drawing/2014/main" id="{2932BA5A-E590-446D-B0B5-F85B86EC9928}"/>
                </a:ext>
              </a:extLst>
            </p:cNvPr>
            <p:cNvSpPr/>
            <p:nvPr userDrawn="1"/>
          </p:nvSpPr>
          <p:spPr bwMode="auto">
            <a:xfrm>
              <a:off x="8346867" y="2856585"/>
              <a:ext cx="126722" cy="1316589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2" name="íṧḷidé">
              <a:extLst>
                <a:ext uri="{FF2B5EF4-FFF2-40B4-BE49-F238E27FC236}">
                  <a16:creationId xmlns:a16="http://schemas.microsoft.com/office/drawing/2014/main" id="{2D5B728A-3BBA-40F1-9634-ACC386604EE9}"/>
                </a:ext>
              </a:extLst>
            </p:cNvPr>
            <p:cNvSpPr/>
            <p:nvPr userDrawn="1"/>
          </p:nvSpPr>
          <p:spPr bwMode="auto">
            <a:xfrm>
              <a:off x="7675406" y="5688897"/>
              <a:ext cx="488784" cy="190905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3" name="i$ḷîde">
              <a:extLst>
                <a:ext uri="{FF2B5EF4-FFF2-40B4-BE49-F238E27FC236}">
                  <a16:creationId xmlns:a16="http://schemas.microsoft.com/office/drawing/2014/main" id="{812BEC7E-920B-41D1-A017-5F0EA119128E}"/>
                </a:ext>
              </a:extLst>
            </p:cNvPr>
            <p:cNvSpPr/>
            <p:nvPr userDrawn="1"/>
          </p:nvSpPr>
          <p:spPr bwMode="auto">
            <a:xfrm>
              <a:off x="7556913" y="4173174"/>
              <a:ext cx="855783" cy="855783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4" name="ïşḻïḓe">
              <a:extLst>
                <a:ext uri="{FF2B5EF4-FFF2-40B4-BE49-F238E27FC236}">
                  <a16:creationId xmlns:a16="http://schemas.microsoft.com/office/drawing/2014/main" id="{9B8FC791-6553-4B3F-823B-DA0CCE0AD320}"/>
                </a:ext>
              </a:extLst>
            </p:cNvPr>
            <p:cNvSpPr/>
            <p:nvPr userDrawn="1"/>
          </p:nvSpPr>
          <p:spPr bwMode="auto">
            <a:xfrm>
              <a:off x="8439028" y="4173174"/>
              <a:ext cx="852491" cy="855783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5" name="iṩḻïdè">
              <a:extLst>
                <a:ext uri="{FF2B5EF4-FFF2-40B4-BE49-F238E27FC236}">
                  <a16:creationId xmlns:a16="http://schemas.microsoft.com/office/drawing/2014/main" id="{C7B961F2-0FA1-496B-BF75-1B80184F7546}"/>
                </a:ext>
              </a:extLst>
            </p:cNvPr>
            <p:cNvSpPr/>
            <p:nvPr userDrawn="1"/>
          </p:nvSpPr>
          <p:spPr bwMode="auto">
            <a:xfrm>
              <a:off x="8309014" y="5700418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6" name="íṧḻíḋe">
              <a:extLst>
                <a:ext uri="{FF2B5EF4-FFF2-40B4-BE49-F238E27FC236}">
                  <a16:creationId xmlns:a16="http://schemas.microsoft.com/office/drawing/2014/main" id="{68EA8E57-BFE3-41B8-90C7-BAE4C2494936}"/>
                </a:ext>
              </a:extLst>
            </p:cNvPr>
            <p:cNvSpPr/>
            <p:nvPr userDrawn="1"/>
          </p:nvSpPr>
          <p:spPr bwMode="auto">
            <a:xfrm>
              <a:off x="8309014" y="4085950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7" name="ïş1ïḓê">
              <a:extLst>
                <a:ext uri="{FF2B5EF4-FFF2-40B4-BE49-F238E27FC236}">
                  <a16:creationId xmlns:a16="http://schemas.microsoft.com/office/drawing/2014/main" id="{D0752CDE-0251-4715-B0F5-4392FFAA894B}"/>
                </a:ext>
              </a:extLst>
            </p:cNvPr>
            <p:cNvSpPr/>
            <p:nvPr userDrawn="1"/>
          </p:nvSpPr>
          <p:spPr bwMode="auto">
            <a:xfrm>
              <a:off x="7961765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8" name="iṥḷïdé">
              <a:extLst>
                <a:ext uri="{FF2B5EF4-FFF2-40B4-BE49-F238E27FC236}">
                  <a16:creationId xmlns:a16="http://schemas.microsoft.com/office/drawing/2014/main" id="{F6EBCF3F-E47C-43D1-9DD6-AE7F8F37E631}"/>
                </a:ext>
              </a:extLst>
            </p:cNvPr>
            <p:cNvSpPr/>
            <p:nvPr userDrawn="1"/>
          </p:nvSpPr>
          <p:spPr bwMode="auto">
            <a:xfrm>
              <a:off x="8652974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9" name="îṩľîde">
              <a:extLst>
                <a:ext uri="{FF2B5EF4-FFF2-40B4-BE49-F238E27FC236}">
                  <a16:creationId xmlns:a16="http://schemas.microsoft.com/office/drawing/2014/main" id="{6A63D590-6C4D-47BF-9141-493E199B4666}"/>
                </a:ext>
              </a:extLst>
            </p:cNvPr>
            <p:cNvSpPr/>
            <p:nvPr userDrawn="1"/>
          </p:nvSpPr>
          <p:spPr bwMode="auto">
            <a:xfrm>
              <a:off x="8095069" y="5688897"/>
              <a:ext cx="635254" cy="72412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763763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4C152D1D-7FDA-4B90-AB7A-0D4131DCD89B}"/>
              </a:ext>
            </a:extLst>
          </p:cNvPr>
          <p:cNvSpPr/>
          <p:nvPr userDrawn="1"/>
        </p:nvSpPr>
        <p:spPr>
          <a:xfrm>
            <a:off x="0" y="4674818"/>
            <a:ext cx="12192000" cy="21831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424440" y="2701326"/>
            <a:ext cx="5419185" cy="580635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425556" y="3281962"/>
            <a:ext cx="5419185" cy="50622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93" name="组合 92">
            <a:extLst>
              <a:ext uri="{FF2B5EF4-FFF2-40B4-BE49-F238E27FC236}">
                <a16:creationId xmlns:a16="http://schemas.microsoft.com/office/drawing/2014/main" id="{73CB0458-96D7-47CF-9D9D-77DA477EE7F0}"/>
              </a:ext>
            </a:extLst>
          </p:cNvPr>
          <p:cNvGrpSpPr/>
          <p:nvPr userDrawn="1"/>
        </p:nvGrpSpPr>
        <p:grpSpPr>
          <a:xfrm>
            <a:off x="8700713" y="761637"/>
            <a:ext cx="3096562" cy="1915293"/>
            <a:chOff x="9312516" y="4779135"/>
            <a:chExt cx="2222733" cy="1374810"/>
          </a:xfrm>
        </p:grpSpPr>
        <p:sp>
          <p:nvSpPr>
            <p:cNvPr id="7" name="íšḷiḑe">
              <a:extLst>
                <a:ext uri="{FF2B5EF4-FFF2-40B4-BE49-F238E27FC236}">
                  <a16:creationId xmlns:a16="http://schemas.microsoft.com/office/drawing/2014/main" id="{BBF7B166-F012-4D09-959C-4D071E0F42DE}"/>
                </a:ext>
              </a:extLst>
            </p:cNvPr>
            <p:cNvSpPr/>
            <p:nvPr userDrawn="1"/>
          </p:nvSpPr>
          <p:spPr bwMode="auto">
            <a:xfrm>
              <a:off x="9916599" y="5070761"/>
              <a:ext cx="1084410" cy="1083184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îṩ1iḑé">
              <a:extLst>
                <a:ext uri="{FF2B5EF4-FFF2-40B4-BE49-F238E27FC236}">
                  <a16:creationId xmlns:a16="http://schemas.microsoft.com/office/drawing/2014/main" id="{BB1C054C-DB73-4138-B806-4B5EB9C7420E}"/>
                </a:ext>
              </a:extLst>
            </p:cNvPr>
            <p:cNvSpPr/>
            <p:nvPr userDrawn="1"/>
          </p:nvSpPr>
          <p:spPr bwMode="auto">
            <a:xfrm>
              <a:off x="11057374" y="5366064"/>
              <a:ext cx="477875" cy="477875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ṧ1îďê">
              <a:extLst>
                <a:ext uri="{FF2B5EF4-FFF2-40B4-BE49-F238E27FC236}">
                  <a16:creationId xmlns:a16="http://schemas.microsoft.com/office/drawing/2014/main" id="{16C7EFBB-8B52-4753-A58C-9737A95284BA}"/>
                </a:ext>
              </a:extLst>
            </p:cNvPr>
            <p:cNvSpPr/>
            <p:nvPr userDrawn="1"/>
          </p:nvSpPr>
          <p:spPr bwMode="auto">
            <a:xfrm>
              <a:off x="9312516" y="4779135"/>
              <a:ext cx="705785" cy="703335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B0875522-35FC-4DA1-B665-D5DB5E42C0E0}"/>
              </a:ext>
            </a:extLst>
          </p:cNvPr>
          <p:cNvGrpSpPr/>
          <p:nvPr userDrawn="1"/>
        </p:nvGrpSpPr>
        <p:grpSpPr>
          <a:xfrm>
            <a:off x="1589080" y="2450591"/>
            <a:ext cx="4506920" cy="3655809"/>
            <a:chOff x="1550010" y="2249015"/>
            <a:chExt cx="3756836" cy="3047375"/>
          </a:xfrm>
        </p:grpSpPr>
        <p:sp>
          <p:nvSpPr>
            <p:cNvPr id="5" name="îṣḷïde">
              <a:extLst>
                <a:ext uri="{FF2B5EF4-FFF2-40B4-BE49-F238E27FC236}">
                  <a16:creationId xmlns:a16="http://schemas.microsoft.com/office/drawing/2014/main" id="{BED1DF99-7A96-4F7F-A74F-51B366972BBE}"/>
                </a:ext>
              </a:extLst>
            </p:cNvPr>
            <p:cNvSpPr/>
            <p:nvPr userDrawn="1"/>
          </p:nvSpPr>
          <p:spPr bwMode="auto">
            <a:xfrm>
              <a:off x="1812229" y="2882506"/>
              <a:ext cx="482777" cy="1135873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" name="ïšḻíḍê">
              <a:extLst>
                <a:ext uri="{FF2B5EF4-FFF2-40B4-BE49-F238E27FC236}">
                  <a16:creationId xmlns:a16="http://schemas.microsoft.com/office/drawing/2014/main" id="{F2FB9165-B44D-49A5-8EE3-8C1F5AEB10AC}"/>
                </a:ext>
              </a:extLst>
            </p:cNvPr>
            <p:cNvSpPr/>
            <p:nvPr userDrawn="1"/>
          </p:nvSpPr>
          <p:spPr bwMode="auto">
            <a:xfrm>
              <a:off x="2215360" y="2882506"/>
              <a:ext cx="79646" cy="189925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íşlïďê">
              <a:extLst>
                <a:ext uri="{FF2B5EF4-FFF2-40B4-BE49-F238E27FC236}">
                  <a16:creationId xmlns:a16="http://schemas.microsoft.com/office/drawing/2014/main" id="{EF4DD151-9136-4644-977B-B301244A42EC}"/>
                </a:ext>
              </a:extLst>
            </p:cNvPr>
            <p:cNvSpPr/>
            <p:nvPr userDrawn="1"/>
          </p:nvSpPr>
          <p:spPr bwMode="auto">
            <a:xfrm>
              <a:off x="1550010" y="4018379"/>
              <a:ext cx="3756836" cy="96801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íśḷïdè">
              <a:extLst>
                <a:ext uri="{FF2B5EF4-FFF2-40B4-BE49-F238E27FC236}">
                  <a16:creationId xmlns:a16="http://schemas.microsoft.com/office/drawing/2014/main" id="{EE22E615-34E2-416D-B8D3-1D65A18F994A}"/>
                </a:ext>
              </a:extLst>
            </p:cNvPr>
            <p:cNvSpPr/>
            <p:nvPr userDrawn="1"/>
          </p:nvSpPr>
          <p:spPr bwMode="auto">
            <a:xfrm>
              <a:off x="1552460" y="4086998"/>
              <a:ext cx="3750710" cy="28182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îṥlïḋê">
              <a:extLst>
                <a:ext uri="{FF2B5EF4-FFF2-40B4-BE49-F238E27FC236}">
                  <a16:creationId xmlns:a16="http://schemas.microsoft.com/office/drawing/2014/main" id="{315A3D9D-1102-48B0-A564-E74F7009667E}"/>
                </a:ext>
              </a:extLst>
            </p:cNvPr>
            <p:cNvSpPr/>
            <p:nvPr userDrawn="1"/>
          </p:nvSpPr>
          <p:spPr bwMode="auto">
            <a:xfrm>
              <a:off x="2677305" y="3966915"/>
              <a:ext cx="1357656" cy="51464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îṣľíḑê">
              <a:extLst>
                <a:ext uri="{FF2B5EF4-FFF2-40B4-BE49-F238E27FC236}">
                  <a16:creationId xmlns:a16="http://schemas.microsoft.com/office/drawing/2014/main" id="{078083A2-DB7F-42B5-B496-2A6C2E587A08}"/>
                </a:ext>
              </a:extLst>
            </p:cNvPr>
            <p:cNvSpPr/>
            <p:nvPr userDrawn="1"/>
          </p:nvSpPr>
          <p:spPr bwMode="auto">
            <a:xfrm>
              <a:off x="2815767" y="3966915"/>
              <a:ext cx="1357656" cy="51464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iṩ1idè">
              <a:extLst>
                <a:ext uri="{FF2B5EF4-FFF2-40B4-BE49-F238E27FC236}">
                  <a16:creationId xmlns:a16="http://schemas.microsoft.com/office/drawing/2014/main" id="{925A7F4F-9393-4A6E-AB5E-A72DC0C5DEB3}"/>
                </a:ext>
              </a:extLst>
            </p:cNvPr>
            <p:cNvSpPr/>
            <p:nvPr userDrawn="1"/>
          </p:nvSpPr>
          <p:spPr bwMode="auto">
            <a:xfrm>
              <a:off x="2344018" y="2294351"/>
              <a:ext cx="2179848" cy="1360107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3E47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ŝḻïḓè">
              <a:extLst>
                <a:ext uri="{FF2B5EF4-FFF2-40B4-BE49-F238E27FC236}">
                  <a16:creationId xmlns:a16="http://schemas.microsoft.com/office/drawing/2014/main" id="{D8BFD442-D594-48CD-BFD9-27A76F60FD25}"/>
                </a:ext>
              </a:extLst>
            </p:cNvPr>
            <p:cNvSpPr/>
            <p:nvPr userDrawn="1"/>
          </p:nvSpPr>
          <p:spPr bwMode="auto">
            <a:xfrm>
              <a:off x="2344018" y="2294351"/>
              <a:ext cx="2179848" cy="142137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íṧľîḑe">
              <a:extLst>
                <a:ext uri="{FF2B5EF4-FFF2-40B4-BE49-F238E27FC236}">
                  <a16:creationId xmlns:a16="http://schemas.microsoft.com/office/drawing/2014/main" id="{D6EB4CD3-AFB2-40B4-BF20-EB2838BD74C1}"/>
                </a:ext>
              </a:extLst>
            </p:cNvPr>
            <p:cNvSpPr/>
            <p:nvPr userDrawn="1"/>
          </p:nvSpPr>
          <p:spPr bwMode="auto">
            <a:xfrm>
              <a:off x="3604874" y="2992784"/>
              <a:ext cx="301429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ísļídè">
              <a:extLst>
                <a:ext uri="{FF2B5EF4-FFF2-40B4-BE49-F238E27FC236}">
                  <a16:creationId xmlns:a16="http://schemas.microsoft.com/office/drawing/2014/main" id="{E324133B-E87D-425B-A318-CC5D87EDABD6}"/>
                </a:ext>
              </a:extLst>
            </p:cNvPr>
            <p:cNvSpPr/>
            <p:nvPr userDrawn="1"/>
          </p:nvSpPr>
          <p:spPr bwMode="auto">
            <a:xfrm>
              <a:off x="3604874" y="3092036"/>
              <a:ext cx="374948" cy="51464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îSlíḑè">
              <a:extLst>
                <a:ext uri="{FF2B5EF4-FFF2-40B4-BE49-F238E27FC236}">
                  <a16:creationId xmlns:a16="http://schemas.microsoft.com/office/drawing/2014/main" id="{B2D0AA01-C38D-452E-ACBD-0568883C121C}"/>
                </a:ext>
              </a:extLst>
            </p:cNvPr>
            <p:cNvSpPr/>
            <p:nvPr userDrawn="1"/>
          </p:nvSpPr>
          <p:spPr bwMode="auto">
            <a:xfrm>
              <a:off x="4017808" y="3092036"/>
              <a:ext cx="18502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ïslíďê">
              <a:extLst>
                <a:ext uri="{FF2B5EF4-FFF2-40B4-BE49-F238E27FC236}">
                  <a16:creationId xmlns:a16="http://schemas.microsoft.com/office/drawing/2014/main" id="{FCE60FEC-D87E-4560-A5D3-E0F0760BF388}"/>
                </a:ext>
              </a:extLst>
            </p:cNvPr>
            <p:cNvSpPr/>
            <p:nvPr userDrawn="1"/>
          </p:nvSpPr>
          <p:spPr bwMode="auto">
            <a:xfrm>
              <a:off x="3604874" y="3191287"/>
              <a:ext cx="14826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ṥļïďé">
              <a:extLst>
                <a:ext uri="{FF2B5EF4-FFF2-40B4-BE49-F238E27FC236}">
                  <a16:creationId xmlns:a16="http://schemas.microsoft.com/office/drawing/2014/main" id="{CD187B4A-8793-4B98-B3FF-0D759A860AA6}"/>
                </a:ext>
              </a:extLst>
            </p:cNvPr>
            <p:cNvSpPr/>
            <p:nvPr userDrawn="1"/>
          </p:nvSpPr>
          <p:spPr bwMode="auto">
            <a:xfrm>
              <a:off x="3803377" y="3191287"/>
              <a:ext cx="552621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ṧḻiďê">
              <a:extLst>
                <a:ext uri="{FF2B5EF4-FFF2-40B4-BE49-F238E27FC236}">
                  <a16:creationId xmlns:a16="http://schemas.microsoft.com/office/drawing/2014/main" id="{6B165554-4AD0-44E9-AD3A-E4A5D098812C}"/>
                </a:ext>
              </a:extLst>
            </p:cNvPr>
            <p:cNvSpPr/>
            <p:nvPr userDrawn="1"/>
          </p:nvSpPr>
          <p:spPr bwMode="auto">
            <a:xfrm>
              <a:off x="3803377" y="3191287"/>
              <a:ext cx="552621" cy="51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îṩḻiḓê">
              <a:extLst>
                <a:ext uri="{FF2B5EF4-FFF2-40B4-BE49-F238E27FC236}">
                  <a16:creationId xmlns:a16="http://schemas.microsoft.com/office/drawing/2014/main" id="{3250146E-631A-4625-B9E1-864B92989FE5}"/>
                </a:ext>
              </a:extLst>
            </p:cNvPr>
            <p:cNvSpPr/>
            <p:nvPr userDrawn="1"/>
          </p:nvSpPr>
          <p:spPr bwMode="auto">
            <a:xfrm>
              <a:off x="3974922" y="2992784"/>
              <a:ext cx="172770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îŝ1îḍê">
              <a:extLst>
                <a:ext uri="{FF2B5EF4-FFF2-40B4-BE49-F238E27FC236}">
                  <a16:creationId xmlns:a16="http://schemas.microsoft.com/office/drawing/2014/main" id="{18E97B02-E3C2-48C4-8BE8-5C32C2AAC097}"/>
                </a:ext>
              </a:extLst>
            </p:cNvPr>
            <p:cNvSpPr/>
            <p:nvPr userDrawn="1"/>
          </p:nvSpPr>
          <p:spPr bwMode="auto">
            <a:xfrm>
              <a:off x="3604874" y="2523487"/>
              <a:ext cx="301429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iṩ1îďé">
              <a:extLst>
                <a:ext uri="{FF2B5EF4-FFF2-40B4-BE49-F238E27FC236}">
                  <a16:creationId xmlns:a16="http://schemas.microsoft.com/office/drawing/2014/main" id="{347CD443-7B9F-4360-8866-630189E1B829}"/>
                </a:ext>
              </a:extLst>
            </p:cNvPr>
            <p:cNvSpPr/>
            <p:nvPr userDrawn="1"/>
          </p:nvSpPr>
          <p:spPr bwMode="auto">
            <a:xfrm>
              <a:off x="3604874" y="2623963"/>
              <a:ext cx="374948" cy="50239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iSḻíḍe">
              <a:extLst>
                <a:ext uri="{FF2B5EF4-FFF2-40B4-BE49-F238E27FC236}">
                  <a16:creationId xmlns:a16="http://schemas.microsoft.com/office/drawing/2014/main" id="{933E7EAD-C07E-412A-8881-4254EEE337DF}"/>
                </a:ext>
              </a:extLst>
            </p:cNvPr>
            <p:cNvSpPr/>
            <p:nvPr userDrawn="1"/>
          </p:nvSpPr>
          <p:spPr bwMode="auto">
            <a:xfrm>
              <a:off x="4017808" y="2623963"/>
              <a:ext cx="18502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ṥ1iḍè">
              <a:extLst>
                <a:ext uri="{FF2B5EF4-FFF2-40B4-BE49-F238E27FC236}">
                  <a16:creationId xmlns:a16="http://schemas.microsoft.com/office/drawing/2014/main" id="{9986CB17-3DB9-4127-A651-13236C8EF54E}"/>
                </a:ext>
              </a:extLst>
            </p:cNvPr>
            <p:cNvSpPr/>
            <p:nvPr userDrawn="1"/>
          </p:nvSpPr>
          <p:spPr bwMode="auto">
            <a:xfrm>
              <a:off x="3604874" y="2723214"/>
              <a:ext cx="148265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íṡ1íḓe">
              <a:extLst>
                <a:ext uri="{FF2B5EF4-FFF2-40B4-BE49-F238E27FC236}">
                  <a16:creationId xmlns:a16="http://schemas.microsoft.com/office/drawing/2014/main" id="{729FFAE1-5E2C-4954-8F4F-DFFB10DC1A1D}"/>
                </a:ext>
              </a:extLst>
            </p:cNvPr>
            <p:cNvSpPr/>
            <p:nvPr userDrawn="1"/>
          </p:nvSpPr>
          <p:spPr bwMode="auto">
            <a:xfrm>
              <a:off x="3803377" y="2723214"/>
              <a:ext cx="552621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íŝľíḑe">
              <a:extLst>
                <a:ext uri="{FF2B5EF4-FFF2-40B4-BE49-F238E27FC236}">
                  <a16:creationId xmlns:a16="http://schemas.microsoft.com/office/drawing/2014/main" id="{C76CDE87-989F-4FED-8C41-E5668EB96AFE}"/>
                </a:ext>
              </a:extLst>
            </p:cNvPr>
            <p:cNvSpPr/>
            <p:nvPr userDrawn="1"/>
          </p:nvSpPr>
          <p:spPr bwMode="auto">
            <a:xfrm>
              <a:off x="3974922" y="2523487"/>
              <a:ext cx="172770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ïṥ1îḓè">
              <a:extLst>
                <a:ext uri="{FF2B5EF4-FFF2-40B4-BE49-F238E27FC236}">
                  <a16:creationId xmlns:a16="http://schemas.microsoft.com/office/drawing/2014/main" id="{6491BC25-5D16-416E-834C-C3C273B56AE3}"/>
                </a:ext>
              </a:extLst>
            </p:cNvPr>
            <p:cNvSpPr/>
            <p:nvPr userDrawn="1"/>
          </p:nvSpPr>
          <p:spPr bwMode="auto">
            <a:xfrm>
              <a:off x="2585407" y="2992784"/>
              <a:ext cx="30265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íṡḷidê">
              <a:extLst>
                <a:ext uri="{FF2B5EF4-FFF2-40B4-BE49-F238E27FC236}">
                  <a16:creationId xmlns:a16="http://schemas.microsoft.com/office/drawing/2014/main" id="{97646E6B-D97E-4144-BE27-DBF63D11F3E3}"/>
                </a:ext>
              </a:extLst>
            </p:cNvPr>
            <p:cNvSpPr/>
            <p:nvPr userDrawn="1"/>
          </p:nvSpPr>
          <p:spPr bwMode="auto">
            <a:xfrm>
              <a:off x="2585407" y="3092036"/>
              <a:ext cx="373723" cy="51464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ïSḻïḑe">
              <a:extLst>
                <a:ext uri="{FF2B5EF4-FFF2-40B4-BE49-F238E27FC236}">
                  <a16:creationId xmlns:a16="http://schemas.microsoft.com/office/drawing/2014/main" id="{D6B8E12F-8709-43F2-806C-6CAB41D5FC94}"/>
                </a:ext>
              </a:extLst>
            </p:cNvPr>
            <p:cNvSpPr/>
            <p:nvPr userDrawn="1"/>
          </p:nvSpPr>
          <p:spPr bwMode="auto">
            <a:xfrm>
              <a:off x="2998340" y="3092036"/>
              <a:ext cx="18502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ŝlîḋe">
              <a:extLst>
                <a:ext uri="{FF2B5EF4-FFF2-40B4-BE49-F238E27FC236}">
                  <a16:creationId xmlns:a16="http://schemas.microsoft.com/office/drawing/2014/main" id="{518E2322-9EE4-474F-ADE3-FD2898161179}"/>
                </a:ext>
              </a:extLst>
            </p:cNvPr>
            <p:cNvSpPr/>
            <p:nvPr userDrawn="1"/>
          </p:nvSpPr>
          <p:spPr bwMode="auto">
            <a:xfrm>
              <a:off x="2585407" y="3191287"/>
              <a:ext cx="14826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ïṣḷidè">
              <a:extLst>
                <a:ext uri="{FF2B5EF4-FFF2-40B4-BE49-F238E27FC236}">
                  <a16:creationId xmlns:a16="http://schemas.microsoft.com/office/drawing/2014/main" id="{0BB4003C-99FF-44C8-9B1D-B72F6C0634E4}"/>
                </a:ext>
              </a:extLst>
            </p:cNvPr>
            <p:cNvSpPr/>
            <p:nvPr userDrawn="1"/>
          </p:nvSpPr>
          <p:spPr bwMode="auto">
            <a:xfrm>
              <a:off x="2785134" y="3191287"/>
              <a:ext cx="54894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ṧľîḓê">
              <a:extLst>
                <a:ext uri="{FF2B5EF4-FFF2-40B4-BE49-F238E27FC236}">
                  <a16:creationId xmlns:a16="http://schemas.microsoft.com/office/drawing/2014/main" id="{1F16BF9D-8781-431D-8816-B051BA40B836}"/>
                </a:ext>
              </a:extLst>
            </p:cNvPr>
            <p:cNvSpPr/>
            <p:nvPr userDrawn="1"/>
          </p:nvSpPr>
          <p:spPr bwMode="auto">
            <a:xfrm>
              <a:off x="2955454" y="2992784"/>
              <a:ext cx="173996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šḷîḓe">
              <a:extLst>
                <a:ext uri="{FF2B5EF4-FFF2-40B4-BE49-F238E27FC236}">
                  <a16:creationId xmlns:a16="http://schemas.microsoft.com/office/drawing/2014/main" id="{9A53BEED-3C4A-4059-B845-7D0D36B08474}"/>
                </a:ext>
              </a:extLst>
            </p:cNvPr>
            <p:cNvSpPr/>
            <p:nvPr userDrawn="1"/>
          </p:nvSpPr>
          <p:spPr bwMode="auto">
            <a:xfrm>
              <a:off x="2585407" y="2523487"/>
              <a:ext cx="30265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îśliḍé">
              <a:extLst>
                <a:ext uri="{FF2B5EF4-FFF2-40B4-BE49-F238E27FC236}">
                  <a16:creationId xmlns:a16="http://schemas.microsoft.com/office/drawing/2014/main" id="{7C686A36-4505-4F1A-BAF7-B4EFDAFBF0AF}"/>
                </a:ext>
              </a:extLst>
            </p:cNvPr>
            <p:cNvSpPr/>
            <p:nvPr userDrawn="1"/>
          </p:nvSpPr>
          <p:spPr bwMode="auto">
            <a:xfrm>
              <a:off x="2585407" y="2623963"/>
              <a:ext cx="373723" cy="50239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iṥ1iḍê">
              <a:extLst>
                <a:ext uri="{FF2B5EF4-FFF2-40B4-BE49-F238E27FC236}">
                  <a16:creationId xmlns:a16="http://schemas.microsoft.com/office/drawing/2014/main" id="{5051C958-829C-4DD0-89AD-F39D5FD792AD}"/>
                </a:ext>
              </a:extLst>
            </p:cNvPr>
            <p:cNvSpPr/>
            <p:nvPr userDrawn="1"/>
          </p:nvSpPr>
          <p:spPr bwMode="auto">
            <a:xfrm>
              <a:off x="2998340" y="2623963"/>
              <a:ext cx="18502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ïSlïḑe">
              <a:extLst>
                <a:ext uri="{FF2B5EF4-FFF2-40B4-BE49-F238E27FC236}">
                  <a16:creationId xmlns:a16="http://schemas.microsoft.com/office/drawing/2014/main" id="{A459608F-3AFA-4141-A1AE-F19022B144E8}"/>
                </a:ext>
              </a:extLst>
            </p:cNvPr>
            <p:cNvSpPr/>
            <p:nvPr userDrawn="1"/>
          </p:nvSpPr>
          <p:spPr bwMode="auto">
            <a:xfrm>
              <a:off x="2585407" y="2723214"/>
              <a:ext cx="148265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śľîďe">
              <a:extLst>
                <a:ext uri="{FF2B5EF4-FFF2-40B4-BE49-F238E27FC236}">
                  <a16:creationId xmlns:a16="http://schemas.microsoft.com/office/drawing/2014/main" id="{FD715729-8843-409A-AAC2-3E0D09CB3049}"/>
                </a:ext>
              </a:extLst>
            </p:cNvPr>
            <p:cNvSpPr/>
            <p:nvPr userDrawn="1"/>
          </p:nvSpPr>
          <p:spPr bwMode="auto">
            <a:xfrm>
              <a:off x="2785134" y="2723214"/>
              <a:ext cx="54894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îṡľiďé">
              <a:extLst>
                <a:ext uri="{FF2B5EF4-FFF2-40B4-BE49-F238E27FC236}">
                  <a16:creationId xmlns:a16="http://schemas.microsoft.com/office/drawing/2014/main" id="{1FFA919A-4F71-493D-9C86-6014F672844E}"/>
                </a:ext>
              </a:extLst>
            </p:cNvPr>
            <p:cNvSpPr/>
            <p:nvPr userDrawn="1"/>
          </p:nvSpPr>
          <p:spPr bwMode="auto">
            <a:xfrm>
              <a:off x="2955454" y="2523487"/>
              <a:ext cx="173996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ís1iḋê">
              <a:extLst>
                <a:ext uri="{FF2B5EF4-FFF2-40B4-BE49-F238E27FC236}">
                  <a16:creationId xmlns:a16="http://schemas.microsoft.com/office/drawing/2014/main" id="{02A3D0D4-41D4-4C40-BF57-01571A009C68}"/>
                </a:ext>
              </a:extLst>
            </p:cNvPr>
            <p:cNvSpPr/>
            <p:nvPr userDrawn="1"/>
          </p:nvSpPr>
          <p:spPr bwMode="auto">
            <a:xfrm>
              <a:off x="2295006" y="2249015"/>
              <a:ext cx="2274197" cy="1450781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Sľíḑé">
              <a:extLst>
                <a:ext uri="{FF2B5EF4-FFF2-40B4-BE49-F238E27FC236}">
                  <a16:creationId xmlns:a16="http://schemas.microsoft.com/office/drawing/2014/main" id="{DEE98AAA-891E-40EF-AD10-81540C98BE92}"/>
                </a:ext>
              </a:extLst>
            </p:cNvPr>
            <p:cNvSpPr/>
            <p:nvPr userDrawn="1"/>
          </p:nvSpPr>
          <p:spPr bwMode="auto">
            <a:xfrm>
              <a:off x="4182001" y="3236624"/>
              <a:ext cx="79646" cy="6127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îslîďè">
              <a:extLst>
                <a:ext uri="{FF2B5EF4-FFF2-40B4-BE49-F238E27FC236}">
                  <a16:creationId xmlns:a16="http://schemas.microsoft.com/office/drawing/2014/main" id="{A1A59CF2-7C2A-41E5-878C-5326AA0ACDB1}"/>
                </a:ext>
              </a:extLst>
            </p:cNvPr>
            <p:cNvSpPr/>
            <p:nvPr userDrawn="1"/>
          </p:nvSpPr>
          <p:spPr bwMode="auto">
            <a:xfrm>
              <a:off x="4065595" y="3406943"/>
              <a:ext cx="486453" cy="287951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îSľiḑe">
              <a:extLst>
                <a:ext uri="{FF2B5EF4-FFF2-40B4-BE49-F238E27FC236}">
                  <a16:creationId xmlns:a16="http://schemas.microsoft.com/office/drawing/2014/main" id="{57D750CF-37DE-4665-9CB7-01AB39A41A02}"/>
                </a:ext>
              </a:extLst>
            </p:cNvPr>
            <p:cNvSpPr/>
            <p:nvPr userDrawn="1"/>
          </p:nvSpPr>
          <p:spPr bwMode="auto">
            <a:xfrm>
              <a:off x="2389356" y="2316407"/>
              <a:ext cx="2089174" cy="85773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Sļíḓè">
              <a:extLst>
                <a:ext uri="{FF2B5EF4-FFF2-40B4-BE49-F238E27FC236}">
                  <a16:creationId xmlns:a16="http://schemas.microsoft.com/office/drawing/2014/main" id="{6F350305-3324-45A3-B8A0-CB9ED19AFFA9}"/>
                </a:ext>
              </a:extLst>
            </p:cNvPr>
            <p:cNvSpPr/>
            <p:nvPr userDrawn="1"/>
          </p:nvSpPr>
          <p:spPr bwMode="auto">
            <a:xfrm>
              <a:off x="2295006" y="3527025"/>
              <a:ext cx="2274197" cy="172770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ṧḻídé">
              <a:extLst>
                <a:ext uri="{FF2B5EF4-FFF2-40B4-BE49-F238E27FC236}">
                  <a16:creationId xmlns:a16="http://schemas.microsoft.com/office/drawing/2014/main" id="{6CEB28B7-8744-4428-BD55-349B6D225EEF}"/>
                </a:ext>
              </a:extLst>
            </p:cNvPr>
            <p:cNvSpPr/>
            <p:nvPr userDrawn="1"/>
          </p:nvSpPr>
          <p:spPr bwMode="auto">
            <a:xfrm>
              <a:off x="4332716" y="2367871"/>
              <a:ext cx="46562" cy="45337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ṧlïḋê">
              <a:extLst>
                <a:ext uri="{FF2B5EF4-FFF2-40B4-BE49-F238E27FC236}">
                  <a16:creationId xmlns:a16="http://schemas.microsoft.com/office/drawing/2014/main" id="{7C679456-F585-4818-B794-9A4AD918F7B4}"/>
                </a:ext>
              </a:extLst>
            </p:cNvPr>
            <p:cNvSpPr/>
            <p:nvPr userDrawn="1"/>
          </p:nvSpPr>
          <p:spPr bwMode="auto">
            <a:xfrm>
              <a:off x="4253069" y="2367871"/>
              <a:ext cx="46562" cy="45337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Sḷîḍê">
              <a:extLst>
                <a:ext uri="{FF2B5EF4-FFF2-40B4-BE49-F238E27FC236}">
                  <a16:creationId xmlns:a16="http://schemas.microsoft.com/office/drawing/2014/main" id="{2276FD30-3EB1-4161-BB1B-6273497B99E8}"/>
                </a:ext>
              </a:extLst>
            </p:cNvPr>
            <p:cNvSpPr/>
            <p:nvPr userDrawn="1"/>
          </p:nvSpPr>
          <p:spPr bwMode="auto">
            <a:xfrm>
              <a:off x="4173424" y="2367871"/>
              <a:ext cx="46562" cy="45337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şlîḍe">
              <a:extLst>
                <a:ext uri="{FF2B5EF4-FFF2-40B4-BE49-F238E27FC236}">
                  <a16:creationId xmlns:a16="http://schemas.microsoft.com/office/drawing/2014/main" id="{9362D34F-AEE9-426A-962B-5CEB6FAEF8FF}"/>
                </a:ext>
              </a:extLst>
            </p:cNvPr>
            <p:cNvSpPr/>
            <p:nvPr userDrawn="1"/>
          </p:nvSpPr>
          <p:spPr bwMode="auto">
            <a:xfrm>
              <a:off x="2150418" y="2831042"/>
              <a:ext cx="572225" cy="1187337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ṧliḓe">
              <a:extLst>
                <a:ext uri="{FF2B5EF4-FFF2-40B4-BE49-F238E27FC236}">
                  <a16:creationId xmlns:a16="http://schemas.microsoft.com/office/drawing/2014/main" id="{E465730B-B4E3-45F7-9A17-D05BF1D44560}"/>
                </a:ext>
              </a:extLst>
            </p:cNvPr>
            <p:cNvSpPr/>
            <p:nvPr userDrawn="1"/>
          </p:nvSpPr>
          <p:spPr bwMode="auto">
            <a:xfrm>
              <a:off x="2232515" y="3038122"/>
              <a:ext cx="352893" cy="73519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šľïḍê">
              <a:extLst>
                <a:ext uri="{FF2B5EF4-FFF2-40B4-BE49-F238E27FC236}">
                  <a16:creationId xmlns:a16="http://schemas.microsoft.com/office/drawing/2014/main" id="{B60B31B6-2F6D-43E9-A087-7E65E0CDD14B}"/>
                </a:ext>
              </a:extLst>
            </p:cNvPr>
            <p:cNvSpPr/>
            <p:nvPr userDrawn="1"/>
          </p:nvSpPr>
          <p:spPr bwMode="auto">
            <a:xfrm>
              <a:off x="2135714" y="3299115"/>
              <a:ext cx="350442" cy="74745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ṡ1îḍe">
              <a:extLst>
                <a:ext uri="{FF2B5EF4-FFF2-40B4-BE49-F238E27FC236}">
                  <a16:creationId xmlns:a16="http://schemas.microsoft.com/office/drawing/2014/main" id="{816B332D-A7D7-441B-A1E5-F9962994DB11}"/>
                </a:ext>
              </a:extLst>
            </p:cNvPr>
            <p:cNvSpPr/>
            <p:nvPr userDrawn="1"/>
          </p:nvSpPr>
          <p:spPr bwMode="auto">
            <a:xfrm>
              <a:off x="2021759" y="3561334"/>
              <a:ext cx="359019" cy="73519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ṧḷídè">
              <a:extLst>
                <a:ext uri="{FF2B5EF4-FFF2-40B4-BE49-F238E27FC236}">
                  <a16:creationId xmlns:a16="http://schemas.microsoft.com/office/drawing/2014/main" id="{D304BA61-8182-4162-B06A-CCB3B84A59D3}"/>
                </a:ext>
              </a:extLst>
            </p:cNvPr>
            <p:cNvSpPr/>
            <p:nvPr userDrawn="1"/>
          </p:nvSpPr>
          <p:spPr bwMode="auto">
            <a:xfrm>
              <a:off x="1917607" y="3822327"/>
              <a:ext cx="346766" cy="73519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ṥļïďê">
              <a:extLst>
                <a:ext uri="{FF2B5EF4-FFF2-40B4-BE49-F238E27FC236}">
                  <a16:creationId xmlns:a16="http://schemas.microsoft.com/office/drawing/2014/main" id="{3C56152F-6DEA-455B-84F3-46512E0C54B5}"/>
                </a:ext>
              </a:extLst>
            </p:cNvPr>
            <p:cNvSpPr/>
            <p:nvPr userDrawn="1"/>
          </p:nvSpPr>
          <p:spPr bwMode="auto">
            <a:xfrm>
              <a:off x="4110932" y="3123895"/>
              <a:ext cx="709462" cy="903062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ṡlîḑe">
              <a:extLst>
                <a:ext uri="{FF2B5EF4-FFF2-40B4-BE49-F238E27FC236}">
                  <a16:creationId xmlns:a16="http://schemas.microsoft.com/office/drawing/2014/main" id="{AB28FAAC-F46A-4766-9105-5D772167698A}"/>
                </a:ext>
              </a:extLst>
            </p:cNvPr>
            <p:cNvSpPr/>
            <p:nvPr userDrawn="1"/>
          </p:nvSpPr>
          <p:spPr bwMode="auto">
            <a:xfrm>
              <a:off x="4362124" y="3421647"/>
              <a:ext cx="398230" cy="534240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îšļiḍé">
              <a:extLst>
                <a:ext uri="{FF2B5EF4-FFF2-40B4-BE49-F238E27FC236}">
                  <a16:creationId xmlns:a16="http://schemas.microsoft.com/office/drawing/2014/main" id="{A3F7342D-749D-43FF-A5BE-1FFFE09FBDBA}"/>
                </a:ext>
              </a:extLst>
            </p:cNvPr>
            <p:cNvSpPr/>
            <p:nvPr userDrawn="1"/>
          </p:nvSpPr>
          <p:spPr bwMode="auto">
            <a:xfrm>
              <a:off x="3419851" y="4188698"/>
              <a:ext cx="583253" cy="943498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$ḷïḑe">
              <a:extLst>
                <a:ext uri="{FF2B5EF4-FFF2-40B4-BE49-F238E27FC236}">
                  <a16:creationId xmlns:a16="http://schemas.microsoft.com/office/drawing/2014/main" id="{679F26A2-6F07-498C-9784-653EA60F672B}"/>
                </a:ext>
              </a:extLst>
            </p:cNvPr>
            <p:cNvSpPr/>
            <p:nvPr userDrawn="1"/>
          </p:nvSpPr>
          <p:spPr bwMode="auto">
            <a:xfrm>
              <a:off x="3613451" y="5132196"/>
              <a:ext cx="366372" cy="142137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s1îḓe">
              <a:extLst>
                <a:ext uri="{FF2B5EF4-FFF2-40B4-BE49-F238E27FC236}">
                  <a16:creationId xmlns:a16="http://schemas.microsoft.com/office/drawing/2014/main" id="{88F5140E-0499-4892-AFCC-DF03767705D0}"/>
                </a:ext>
              </a:extLst>
            </p:cNvPr>
            <p:cNvSpPr/>
            <p:nvPr userDrawn="1"/>
          </p:nvSpPr>
          <p:spPr bwMode="auto">
            <a:xfrm>
              <a:off x="2856203" y="4188698"/>
              <a:ext cx="583253" cy="943498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ṥļîdê">
              <a:extLst>
                <a:ext uri="{FF2B5EF4-FFF2-40B4-BE49-F238E27FC236}">
                  <a16:creationId xmlns:a16="http://schemas.microsoft.com/office/drawing/2014/main" id="{8937C7A2-E716-4C3D-BEF9-42ED86EFFE95}"/>
                </a:ext>
              </a:extLst>
            </p:cNvPr>
            <p:cNvSpPr/>
            <p:nvPr userDrawn="1"/>
          </p:nvSpPr>
          <p:spPr bwMode="auto">
            <a:xfrm>
              <a:off x="3073085" y="2915589"/>
              <a:ext cx="147038" cy="219333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sḻîḋè">
              <a:extLst>
                <a:ext uri="{FF2B5EF4-FFF2-40B4-BE49-F238E27FC236}">
                  <a16:creationId xmlns:a16="http://schemas.microsoft.com/office/drawing/2014/main" id="{DC95E2C6-9082-4308-BBB6-3669C50628B9}"/>
                </a:ext>
              </a:extLst>
            </p:cNvPr>
            <p:cNvSpPr/>
            <p:nvPr userDrawn="1"/>
          </p:nvSpPr>
          <p:spPr bwMode="auto">
            <a:xfrm>
              <a:off x="3106168" y="2969504"/>
              <a:ext cx="113955" cy="137236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íṥľïḓê">
              <a:extLst>
                <a:ext uri="{FF2B5EF4-FFF2-40B4-BE49-F238E27FC236}">
                  <a16:creationId xmlns:a16="http://schemas.microsoft.com/office/drawing/2014/main" id="{F15034DD-4139-4A5D-A1FC-BD130ED0B7CC}"/>
                </a:ext>
              </a:extLst>
            </p:cNvPr>
            <p:cNvSpPr/>
            <p:nvPr userDrawn="1"/>
          </p:nvSpPr>
          <p:spPr bwMode="auto">
            <a:xfrm>
              <a:off x="3129450" y="2973179"/>
              <a:ext cx="90673" cy="62492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ş1íḋê">
              <a:extLst>
                <a:ext uri="{FF2B5EF4-FFF2-40B4-BE49-F238E27FC236}">
                  <a16:creationId xmlns:a16="http://schemas.microsoft.com/office/drawing/2014/main" id="{7FA3233B-B5FE-4ED5-806B-A330FAD55AC1}"/>
                </a:ext>
              </a:extLst>
            </p:cNvPr>
            <p:cNvSpPr/>
            <p:nvPr userDrawn="1"/>
          </p:nvSpPr>
          <p:spPr bwMode="auto">
            <a:xfrm>
              <a:off x="3678394" y="2967053"/>
              <a:ext cx="165419" cy="221784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ṧḷíďè">
              <a:extLst>
                <a:ext uri="{FF2B5EF4-FFF2-40B4-BE49-F238E27FC236}">
                  <a16:creationId xmlns:a16="http://schemas.microsoft.com/office/drawing/2014/main" id="{CF755CEF-235E-4910-9B47-311E7EE20948}"/>
                </a:ext>
              </a:extLst>
            </p:cNvPr>
            <p:cNvSpPr/>
            <p:nvPr userDrawn="1"/>
          </p:nvSpPr>
          <p:spPr bwMode="auto">
            <a:xfrm>
              <a:off x="3678394" y="3020968"/>
              <a:ext cx="133561" cy="136011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şlíďe">
              <a:extLst>
                <a:ext uri="{FF2B5EF4-FFF2-40B4-BE49-F238E27FC236}">
                  <a16:creationId xmlns:a16="http://schemas.microsoft.com/office/drawing/2014/main" id="{564DCA01-4D4E-4203-AC3D-91DD158DF283}"/>
                </a:ext>
              </a:extLst>
            </p:cNvPr>
            <p:cNvSpPr/>
            <p:nvPr userDrawn="1"/>
          </p:nvSpPr>
          <p:spPr bwMode="auto">
            <a:xfrm>
              <a:off x="3690647" y="3027094"/>
              <a:ext cx="95575" cy="47788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ṧ1iḍé">
              <a:extLst>
                <a:ext uri="{FF2B5EF4-FFF2-40B4-BE49-F238E27FC236}">
                  <a16:creationId xmlns:a16="http://schemas.microsoft.com/office/drawing/2014/main" id="{F7C9D85A-62D0-4F60-844E-CBE9328B058E}"/>
                </a:ext>
              </a:extLst>
            </p:cNvPr>
            <p:cNvSpPr/>
            <p:nvPr userDrawn="1"/>
          </p:nvSpPr>
          <p:spPr bwMode="auto">
            <a:xfrm>
              <a:off x="3370838" y="3214568"/>
              <a:ext cx="139687" cy="246290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Sḷíḍé">
              <a:extLst>
                <a:ext uri="{FF2B5EF4-FFF2-40B4-BE49-F238E27FC236}">
                  <a16:creationId xmlns:a16="http://schemas.microsoft.com/office/drawing/2014/main" id="{8444D3B0-2E49-4319-8C2D-7129D1A8ACEC}"/>
                </a:ext>
              </a:extLst>
            </p:cNvPr>
            <p:cNvSpPr/>
            <p:nvPr userDrawn="1"/>
          </p:nvSpPr>
          <p:spPr bwMode="auto">
            <a:xfrm>
              <a:off x="3370838" y="3214568"/>
              <a:ext cx="139687" cy="246290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$lïďê">
              <a:extLst>
                <a:ext uri="{FF2B5EF4-FFF2-40B4-BE49-F238E27FC236}">
                  <a16:creationId xmlns:a16="http://schemas.microsoft.com/office/drawing/2014/main" id="{1FEAE8C5-DC59-4A3D-B5AA-92883DF37022}"/>
                </a:ext>
              </a:extLst>
            </p:cNvPr>
            <p:cNvSpPr/>
            <p:nvPr userDrawn="1"/>
          </p:nvSpPr>
          <p:spPr bwMode="auto">
            <a:xfrm>
              <a:off x="3374514" y="3245201"/>
              <a:ext cx="136011" cy="68618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ṩlïḍe">
              <a:extLst>
                <a:ext uri="{FF2B5EF4-FFF2-40B4-BE49-F238E27FC236}">
                  <a16:creationId xmlns:a16="http://schemas.microsoft.com/office/drawing/2014/main" id="{F474C644-7DD8-468F-8644-97C12280CA91}"/>
                </a:ext>
              </a:extLst>
            </p:cNvPr>
            <p:cNvSpPr/>
            <p:nvPr userDrawn="1"/>
          </p:nvSpPr>
          <p:spPr bwMode="auto">
            <a:xfrm>
              <a:off x="3185815" y="2714637"/>
              <a:ext cx="558747" cy="605309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š1íḓè">
              <a:extLst>
                <a:ext uri="{FF2B5EF4-FFF2-40B4-BE49-F238E27FC236}">
                  <a16:creationId xmlns:a16="http://schemas.microsoft.com/office/drawing/2014/main" id="{5D558924-D779-4841-9E59-C2CF35D34ECF}"/>
                </a:ext>
              </a:extLst>
            </p:cNvPr>
            <p:cNvSpPr/>
            <p:nvPr userDrawn="1"/>
          </p:nvSpPr>
          <p:spPr bwMode="auto">
            <a:xfrm>
              <a:off x="3185815" y="2850647"/>
              <a:ext cx="3677" cy="79646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şļíḍê">
              <a:extLst>
                <a:ext uri="{FF2B5EF4-FFF2-40B4-BE49-F238E27FC236}">
                  <a16:creationId xmlns:a16="http://schemas.microsoft.com/office/drawing/2014/main" id="{E199D2AC-6012-42CF-9551-E91B1B858C9D}"/>
                </a:ext>
              </a:extLst>
            </p:cNvPr>
            <p:cNvSpPr/>
            <p:nvPr userDrawn="1"/>
          </p:nvSpPr>
          <p:spPr bwMode="auto">
            <a:xfrm>
              <a:off x="3024072" y="2585978"/>
              <a:ext cx="782981" cy="749897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ïṡļíḋe">
              <a:extLst>
                <a:ext uri="{FF2B5EF4-FFF2-40B4-BE49-F238E27FC236}">
                  <a16:creationId xmlns:a16="http://schemas.microsoft.com/office/drawing/2014/main" id="{D1D99DB1-9EF8-4E78-A70B-D9B055939F45}"/>
                </a:ext>
              </a:extLst>
            </p:cNvPr>
            <p:cNvSpPr/>
            <p:nvPr userDrawn="1"/>
          </p:nvSpPr>
          <p:spPr bwMode="auto">
            <a:xfrm>
              <a:off x="3106168" y="2498980"/>
              <a:ext cx="664124" cy="553845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şľiḍê">
              <a:extLst>
                <a:ext uri="{FF2B5EF4-FFF2-40B4-BE49-F238E27FC236}">
                  <a16:creationId xmlns:a16="http://schemas.microsoft.com/office/drawing/2014/main" id="{BD8527B5-9685-43D9-A4BB-24D31A1DC873}"/>
                </a:ext>
              </a:extLst>
            </p:cNvPr>
            <p:cNvSpPr/>
            <p:nvPr userDrawn="1"/>
          </p:nvSpPr>
          <p:spPr bwMode="auto">
            <a:xfrm>
              <a:off x="2901540" y="3410620"/>
              <a:ext cx="1073382" cy="605309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şḻíḍé">
              <a:extLst>
                <a:ext uri="{FF2B5EF4-FFF2-40B4-BE49-F238E27FC236}">
                  <a16:creationId xmlns:a16="http://schemas.microsoft.com/office/drawing/2014/main" id="{87DF0451-204A-474F-A58F-D13039627FD6}"/>
                </a:ext>
              </a:extLst>
            </p:cNvPr>
            <p:cNvSpPr/>
            <p:nvPr userDrawn="1"/>
          </p:nvSpPr>
          <p:spPr bwMode="auto">
            <a:xfrm>
              <a:off x="3055931" y="3473111"/>
              <a:ext cx="773178" cy="911639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ṣľïḓè">
              <a:extLst>
                <a:ext uri="{FF2B5EF4-FFF2-40B4-BE49-F238E27FC236}">
                  <a16:creationId xmlns:a16="http://schemas.microsoft.com/office/drawing/2014/main" id="{72328A9B-5B48-4A75-AE33-79F12AF9E653}"/>
                </a:ext>
              </a:extLst>
            </p:cNvPr>
            <p:cNvSpPr/>
            <p:nvPr userDrawn="1"/>
          </p:nvSpPr>
          <p:spPr bwMode="auto">
            <a:xfrm>
              <a:off x="3092691" y="3473111"/>
              <a:ext cx="699659" cy="857725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šlídè">
              <a:extLst>
                <a:ext uri="{FF2B5EF4-FFF2-40B4-BE49-F238E27FC236}">
                  <a16:creationId xmlns:a16="http://schemas.microsoft.com/office/drawing/2014/main" id="{06E681C1-1770-438C-92E0-4908FDED543C}"/>
                </a:ext>
              </a:extLst>
            </p:cNvPr>
            <p:cNvSpPr/>
            <p:nvPr userDrawn="1"/>
          </p:nvSpPr>
          <p:spPr bwMode="auto">
            <a:xfrm>
              <a:off x="3080437" y="2913139"/>
              <a:ext cx="700884" cy="454595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ṩḷídé">
              <a:extLst>
                <a:ext uri="{FF2B5EF4-FFF2-40B4-BE49-F238E27FC236}">
                  <a16:creationId xmlns:a16="http://schemas.microsoft.com/office/drawing/2014/main" id="{660F0BB5-1EC9-4845-B263-4ED425A0F5C0}"/>
                </a:ext>
              </a:extLst>
            </p:cNvPr>
            <p:cNvSpPr/>
            <p:nvPr userDrawn="1"/>
          </p:nvSpPr>
          <p:spPr bwMode="auto">
            <a:xfrm>
              <a:off x="3126999" y="2930293"/>
              <a:ext cx="611436" cy="398230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ŝliḓè">
              <a:extLst>
                <a:ext uri="{FF2B5EF4-FFF2-40B4-BE49-F238E27FC236}">
                  <a16:creationId xmlns:a16="http://schemas.microsoft.com/office/drawing/2014/main" id="{693C7819-0F20-4631-A6EB-872578CB9B16}"/>
                </a:ext>
              </a:extLst>
            </p:cNvPr>
            <p:cNvSpPr/>
            <p:nvPr userDrawn="1"/>
          </p:nvSpPr>
          <p:spPr bwMode="auto">
            <a:xfrm>
              <a:off x="2976284" y="4399454"/>
              <a:ext cx="904287" cy="211981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Sľíḋê">
              <a:extLst>
                <a:ext uri="{FF2B5EF4-FFF2-40B4-BE49-F238E27FC236}">
                  <a16:creationId xmlns:a16="http://schemas.microsoft.com/office/drawing/2014/main" id="{8F9C19EF-98C8-4981-AAF6-9D1923B1EE08}"/>
                </a:ext>
              </a:extLst>
            </p:cNvPr>
            <p:cNvSpPr/>
            <p:nvPr userDrawn="1"/>
          </p:nvSpPr>
          <p:spPr bwMode="auto">
            <a:xfrm>
              <a:off x="3080437" y="4399454"/>
              <a:ext cx="692307" cy="53914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íšļiḑê">
              <a:extLst>
                <a:ext uri="{FF2B5EF4-FFF2-40B4-BE49-F238E27FC236}">
                  <a16:creationId xmlns:a16="http://schemas.microsoft.com/office/drawing/2014/main" id="{AA22B452-E548-44EA-9455-BF4F3923065D}"/>
                </a:ext>
              </a:extLst>
            </p:cNvPr>
            <p:cNvSpPr/>
            <p:nvPr userDrawn="1"/>
          </p:nvSpPr>
          <p:spPr bwMode="auto">
            <a:xfrm>
              <a:off x="3383091" y="4611435"/>
              <a:ext cx="84547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îşļiḓè">
              <a:extLst>
                <a:ext uri="{FF2B5EF4-FFF2-40B4-BE49-F238E27FC236}">
                  <a16:creationId xmlns:a16="http://schemas.microsoft.com/office/drawing/2014/main" id="{64D6E0F5-4B9A-430B-AEBC-FD608ACB500C}"/>
                </a:ext>
              </a:extLst>
            </p:cNvPr>
            <p:cNvSpPr/>
            <p:nvPr userDrawn="1"/>
          </p:nvSpPr>
          <p:spPr bwMode="auto">
            <a:xfrm>
              <a:off x="2983637" y="4526887"/>
              <a:ext cx="888358" cy="84547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ṥḻïḋê">
              <a:extLst>
                <a:ext uri="{FF2B5EF4-FFF2-40B4-BE49-F238E27FC236}">
                  <a16:creationId xmlns:a16="http://schemas.microsoft.com/office/drawing/2014/main" id="{7397400A-7416-4E12-9660-155DE38804C8}"/>
                </a:ext>
              </a:extLst>
            </p:cNvPr>
            <p:cNvSpPr/>
            <p:nvPr userDrawn="1"/>
          </p:nvSpPr>
          <p:spPr bwMode="auto">
            <a:xfrm>
              <a:off x="3359810" y="3986521"/>
              <a:ext cx="133561" cy="1154253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şḻíḓé">
              <a:extLst>
                <a:ext uri="{FF2B5EF4-FFF2-40B4-BE49-F238E27FC236}">
                  <a16:creationId xmlns:a16="http://schemas.microsoft.com/office/drawing/2014/main" id="{F40D78CA-C1A7-4E12-85E0-5B21CEF3CB89}"/>
                </a:ext>
              </a:extLst>
            </p:cNvPr>
            <p:cNvSpPr/>
            <p:nvPr userDrawn="1"/>
          </p:nvSpPr>
          <p:spPr bwMode="auto">
            <a:xfrm>
              <a:off x="3379416" y="3023418"/>
              <a:ext cx="94350" cy="980257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ṧḷidé">
              <a:extLst>
                <a:ext uri="{FF2B5EF4-FFF2-40B4-BE49-F238E27FC236}">
                  <a16:creationId xmlns:a16="http://schemas.microsoft.com/office/drawing/2014/main" id="{6B9EA5DD-B3B5-4674-982B-8269182E4792}"/>
                </a:ext>
              </a:extLst>
            </p:cNvPr>
            <p:cNvSpPr/>
            <p:nvPr userDrawn="1"/>
          </p:nvSpPr>
          <p:spPr bwMode="auto">
            <a:xfrm>
              <a:off x="2879484" y="5132196"/>
              <a:ext cx="363921" cy="142137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i$ḷîde">
              <a:extLst>
                <a:ext uri="{FF2B5EF4-FFF2-40B4-BE49-F238E27FC236}">
                  <a16:creationId xmlns:a16="http://schemas.microsoft.com/office/drawing/2014/main" id="{BE7762C7-EE51-4CE3-80BE-B5E9BE586DE3}"/>
                </a:ext>
              </a:extLst>
            </p:cNvPr>
            <p:cNvSpPr/>
            <p:nvPr userDrawn="1"/>
          </p:nvSpPr>
          <p:spPr bwMode="auto">
            <a:xfrm>
              <a:off x="2791261" y="4003675"/>
              <a:ext cx="637167" cy="637167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ïşḻïḓe">
              <a:extLst>
                <a:ext uri="{FF2B5EF4-FFF2-40B4-BE49-F238E27FC236}">
                  <a16:creationId xmlns:a16="http://schemas.microsoft.com/office/drawing/2014/main" id="{7A036AC6-CC89-4A17-9BF5-E7B1B736CC34}"/>
                </a:ext>
              </a:extLst>
            </p:cNvPr>
            <p:cNvSpPr/>
            <p:nvPr userDrawn="1"/>
          </p:nvSpPr>
          <p:spPr bwMode="auto">
            <a:xfrm>
              <a:off x="3448033" y="4003675"/>
              <a:ext cx="634716" cy="637167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ṩḻïdè">
              <a:extLst>
                <a:ext uri="{FF2B5EF4-FFF2-40B4-BE49-F238E27FC236}">
                  <a16:creationId xmlns:a16="http://schemas.microsoft.com/office/drawing/2014/main" id="{4F1F048A-0DFF-4047-A96C-CDD318D1C55D}"/>
                </a:ext>
              </a:extLst>
            </p:cNvPr>
            <p:cNvSpPr/>
            <p:nvPr userDrawn="1"/>
          </p:nvSpPr>
          <p:spPr bwMode="auto">
            <a:xfrm>
              <a:off x="3351232" y="5140774"/>
              <a:ext cx="15439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íṧḻíḋe">
              <a:extLst>
                <a:ext uri="{FF2B5EF4-FFF2-40B4-BE49-F238E27FC236}">
                  <a16:creationId xmlns:a16="http://schemas.microsoft.com/office/drawing/2014/main" id="{7E3D1555-9967-463E-9E9F-F7798D0B1E59}"/>
                </a:ext>
              </a:extLst>
            </p:cNvPr>
            <p:cNvSpPr/>
            <p:nvPr userDrawn="1"/>
          </p:nvSpPr>
          <p:spPr bwMode="auto">
            <a:xfrm>
              <a:off x="3351232" y="3938733"/>
              <a:ext cx="15439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ş1ïḓê">
              <a:extLst>
                <a:ext uri="{FF2B5EF4-FFF2-40B4-BE49-F238E27FC236}">
                  <a16:creationId xmlns:a16="http://schemas.microsoft.com/office/drawing/2014/main" id="{2F8B09D7-F978-4EBB-8359-FA129BBD12AC}"/>
                </a:ext>
              </a:extLst>
            </p:cNvPr>
            <p:cNvSpPr/>
            <p:nvPr userDrawn="1"/>
          </p:nvSpPr>
          <p:spPr bwMode="auto">
            <a:xfrm>
              <a:off x="3092691" y="5140774"/>
              <a:ext cx="15684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ṥḷïdé">
              <a:extLst>
                <a:ext uri="{FF2B5EF4-FFF2-40B4-BE49-F238E27FC236}">
                  <a16:creationId xmlns:a16="http://schemas.microsoft.com/office/drawing/2014/main" id="{A3740707-E853-471E-80F9-03B74FB77764}"/>
                </a:ext>
              </a:extLst>
            </p:cNvPr>
            <p:cNvSpPr/>
            <p:nvPr userDrawn="1"/>
          </p:nvSpPr>
          <p:spPr bwMode="auto">
            <a:xfrm>
              <a:off x="3607325" y="5140774"/>
              <a:ext cx="15684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îṩľîde">
              <a:extLst>
                <a:ext uri="{FF2B5EF4-FFF2-40B4-BE49-F238E27FC236}">
                  <a16:creationId xmlns:a16="http://schemas.microsoft.com/office/drawing/2014/main" id="{9E5DBF7A-9115-4EA5-ACEB-31A89AB7BA0F}"/>
                </a:ext>
              </a:extLst>
            </p:cNvPr>
            <p:cNvSpPr/>
            <p:nvPr userDrawn="1"/>
          </p:nvSpPr>
          <p:spPr bwMode="auto">
            <a:xfrm>
              <a:off x="3191941" y="5132196"/>
              <a:ext cx="472974" cy="53914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775795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12/2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444403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12/20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21177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矩形 208">
            <a:extLst>
              <a:ext uri="{FF2B5EF4-FFF2-40B4-BE49-F238E27FC236}">
                <a16:creationId xmlns:a16="http://schemas.microsoft.com/office/drawing/2014/main" id="{8C37FE3A-6A6F-4D83-8E68-1ACB1353CE3B}"/>
              </a:ext>
            </a:extLst>
          </p:cNvPr>
          <p:cNvSpPr/>
          <p:nvPr userDrawn="1"/>
        </p:nvSpPr>
        <p:spPr>
          <a:xfrm>
            <a:off x="0" y="3501445"/>
            <a:ext cx="12192000" cy="3364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10" name="组合 20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E61662C-3B31-49F7-B7A6-4C83CFB01F0B}"/>
              </a:ext>
            </a:extLst>
          </p:cNvPr>
          <p:cNvGrpSpPr/>
          <p:nvPr userDrawn="1"/>
        </p:nvGrpSpPr>
        <p:grpSpPr>
          <a:xfrm>
            <a:off x="2566182" y="1205559"/>
            <a:ext cx="3529818" cy="3435378"/>
            <a:chOff x="3660775" y="974725"/>
            <a:chExt cx="5043488" cy="4908550"/>
          </a:xfrm>
        </p:grpSpPr>
        <p:sp>
          <p:nvSpPr>
            <p:cNvPr id="211" name="îṣḷïde">
              <a:extLst>
                <a:ext uri="{FF2B5EF4-FFF2-40B4-BE49-F238E27FC236}">
                  <a16:creationId xmlns:a16="http://schemas.microsoft.com/office/drawing/2014/main" id="{9F815CED-9F4A-4838-B283-7E3090059E38}"/>
                </a:ext>
              </a:extLst>
            </p:cNvPr>
            <p:cNvSpPr/>
            <p:nvPr userDrawn="1"/>
          </p:nvSpPr>
          <p:spPr bwMode="auto">
            <a:xfrm>
              <a:off x="4000500" y="2686050"/>
              <a:ext cx="625475" cy="1471613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12" name="ïšḻíḍê">
              <a:extLst>
                <a:ext uri="{FF2B5EF4-FFF2-40B4-BE49-F238E27FC236}">
                  <a16:creationId xmlns:a16="http://schemas.microsoft.com/office/drawing/2014/main" id="{67DE7ED1-1B08-4F80-9FC2-6F89A9EE9CBF}"/>
                </a:ext>
              </a:extLst>
            </p:cNvPr>
            <p:cNvSpPr/>
            <p:nvPr userDrawn="1"/>
          </p:nvSpPr>
          <p:spPr bwMode="auto">
            <a:xfrm>
              <a:off x="4522788" y="2686050"/>
              <a:ext cx="103188" cy="246063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rgbClr val="B57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13" name="íšḷiḑe">
              <a:extLst>
                <a:ext uri="{FF2B5EF4-FFF2-40B4-BE49-F238E27FC236}">
                  <a16:creationId xmlns:a16="http://schemas.microsoft.com/office/drawing/2014/main" id="{7CE1EB59-FDFC-4B41-A456-22EA5FCC9CF9}"/>
                </a:ext>
              </a:extLst>
            </p:cNvPr>
            <p:cNvSpPr/>
            <p:nvPr userDrawn="1"/>
          </p:nvSpPr>
          <p:spPr bwMode="auto">
            <a:xfrm>
              <a:off x="6607175" y="1352550"/>
              <a:ext cx="1404938" cy="1403350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14" name="îṩ1iḑé">
              <a:extLst>
                <a:ext uri="{FF2B5EF4-FFF2-40B4-BE49-F238E27FC236}">
                  <a16:creationId xmlns:a16="http://schemas.microsoft.com/office/drawing/2014/main" id="{693233A4-2E2D-4FEC-981E-F5A43CDC2A0D}"/>
                </a:ext>
              </a:extLst>
            </p:cNvPr>
            <p:cNvSpPr/>
            <p:nvPr userDrawn="1"/>
          </p:nvSpPr>
          <p:spPr bwMode="auto">
            <a:xfrm>
              <a:off x="8085138" y="1735138"/>
              <a:ext cx="619125" cy="619125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15" name="ïṧ1îďê">
              <a:extLst>
                <a:ext uri="{FF2B5EF4-FFF2-40B4-BE49-F238E27FC236}">
                  <a16:creationId xmlns:a16="http://schemas.microsoft.com/office/drawing/2014/main" id="{82077191-990F-46EB-AC7D-3BD85432FB73}"/>
                </a:ext>
              </a:extLst>
            </p:cNvPr>
            <p:cNvSpPr/>
            <p:nvPr userDrawn="1"/>
          </p:nvSpPr>
          <p:spPr bwMode="auto">
            <a:xfrm>
              <a:off x="5824538" y="974725"/>
              <a:ext cx="914400" cy="911225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16" name="íşlïďê">
              <a:extLst>
                <a:ext uri="{FF2B5EF4-FFF2-40B4-BE49-F238E27FC236}">
                  <a16:creationId xmlns:a16="http://schemas.microsoft.com/office/drawing/2014/main" id="{C238C2D4-A315-4A67-AF83-E608C0C4D71E}"/>
                </a:ext>
              </a:extLst>
            </p:cNvPr>
            <p:cNvSpPr/>
            <p:nvPr userDrawn="1"/>
          </p:nvSpPr>
          <p:spPr bwMode="auto">
            <a:xfrm>
              <a:off x="3660775" y="4157663"/>
              <a:ext cx="4867275" cy="125413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17" name="íśḷïdè">
              <a:extLst>
                <a:ext uri="{FF2B5EF4-FFF2-40B4-BE49-F238E27FC236}">
                  <a16:creationId xmlns:a16="http://schemas.microsoft.com/office/drawing/2014/main" id="{FB21D5AA-DD86-4396-9505-2B9F47F0C2CC}"/>
                </a:ext>
              </a:extLst>
            </p:cNvPr>
            <p:cNvSpPr/>
            <p:nvPr userDrawn="1"/>
          </p:nvSpPr>
          <p:spPr bwMode="auto">
            <a:xfrm>
              <a:off x="3663950" y="4246563"/>
              <a:ext cx="4859338" cy="36513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18" name="îṥlïḋê">
              <a:extLst>
                <a:ext uri="{FF2B5EF4-FFF2-40B4-BE49-F238E27FC236}">
                  <a16:creationId xmlns:a16="http://schemas.microsoft.com/office/drawing/2014/main" id="{881A9875-ABC3-430C-8E2C-3A83041D85FA}"/>
                </a:ext>
              </a:extLst>
            </p:cNvPr>
            <p:cNvSpPr/>
            <p:nvPr userDrawn="1"/>
          </p:nvSpPr>
          <p:spPr bwMode="auto">
            <a:xfrm>
              <a:off x="5121275" y="4090988"/>
              <a:ext cx="1758950" cy="66675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19" name="îṣľíḑê">
              <a:extLst>
                <a:ext uri="{FF2B5EF4-FFF2-40B4-BE49-F238E27FC236}">
                  <a16:creationId xmlns:a16="http://schemas.microsoft.com/office/drawing/2014/main" id="{034FC554-C133-4260-ABC8-1DCA170091B6}"/>
                </a:ext>
              </a:extLst>
            </p:cNvPr>
            <p:cNvSpPr/>
            <p:nvPr userDrawn="1"/>
          </p:nvSpPr>
          <p:spPr bwMode="auto">
            <a:xfrm>
              <a:off x="5300663" y="4090988"/>
              <a:ext cx="1758950" cy="66675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0" name="iṩ1idè">
              <a:extLst>
                <a:ext uri="{FF2B5EF4-FFF2-40B4-BE49-F238E27FC236}">
                  <a16:creationId xmlns:a16="http://schemas.microsoft.com/office/drawing/2014/main" id="{135256E0-6AD7-489D-B654-3212BD3B17C6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762125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172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1" name="ï$1iďè">
              <a:extLst>
                <a:ext uri="{FF2B5EF4-FFF2-40B4-BE49-F238E27FC236}">
                  <a16:creationId xmlns:a16="http://schemas.microsoft.com/office/drawing/2014/main" id="{F6AA95AF-CFE7-468E-B732-26B1BD4D19EE}"/>
                </a:ext>
              </a:extLst>
            </p:cNvPr>
            <p:cNvSpPr/>
            <p:nvPr userDrawn="1"/>
          </p:nvSpPr>
          <p:spPr bwMode="auto">
            <a:xfrm>
              <a:off x="6083300" y="2189163"/>
              <a:ext cx="36513" cy="123190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2" name="ïŝḻïḓè">
              <a:extLst>
                <a:ext uri="{FF2B5EF4-FFF2-40B4-BE49-F238E27FC236}">
                  <a16:creationId xmlns:a16="http://schemas.microsoft.com/office/drawing/2014/main" id="{34614279-AE0A-42EB-BD13-292D920E2637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84150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3" name="íṧľîḑe">
              <a:extLst>
                <a:ext uri="{FF2B5EF4-FFF2-40B4-BE49-F238E27FC236}">
                  <a16:creationId xmlns:a16="http://schemas.microsoft.com/office/drawing/2014/main" id="{298945AC-65AD-4286-BA45-E7C81CABBA4A}"/>
                </a:ext>
              </a:extLst>
            </p:cNvPr>
            <p:cNvSpPr/>
            <p:nvPr userDrawn="1"/>
          </p:nvSpPr>
          <p:spPr bwMode="auto">
            <a:xfrm>
              <a:off x="6323013" y="2828925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4" name="ísļídè">
              <a:extLst>
                <a:ext uri="{FF2B5EF4-FFF2-40B4-BE49-F238E27FC236}">
                  <a16:creationId xmlns:a16="http://schemas.microsoft.com/office/drawing/2014/main" id="{29689A9A-61E9-4824-81B3-A2A002BA92BD}"/>
                </a:ext>
              </a:extLst>
            </p:cNvPr>
            <p:cNvSpPr/>
            <p:nvPr userDrawn="1"/>
          </p:nvSpPr>
          <p:spPr bwMode="auto">
            <a:xfrm>
              <a:off x="6323013" y="2957513"/>
              <a:ext cx="485775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5" name="îSlíḑè">
              <a:extLst>
                <a:ext uri="{FF2B5EF4-FFF2-40B4-BE49-F238E27FC236}">
                  <a16:creationId xmlns:a16="http://schemas.microsoft.com/office/drawing/2014/main" id="{B0B64C9E-6C96-4267-87EC-BA99FC6A8F1A}"/>
                </a:ext>
              </a:extLst>
            </p:cNvPr>
            <p:cNvSpPr/>
            <p:nvPr userDrawn="1"/>
          </p:nvSpPr>
          <p:spPr bwMode="auto">
            <a:xfrm>
              <a:off x="68580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6" name="ïslíďê">
              <a:extLst>
                <a:ext uri="{FF2B5EF4-FFF2-40B4-BE49-F238E27FC236}">
                  <a16:creationId xmlns:a16="http://schemas.microsoft.com/office/drawing/2014/main" id="{595D0915-7554-4636-B827-D4D6168C24E9}"/>
                </a:ext>
              </a:extLst>
            </p:cNvPr>
            <p:cNvSpPr/>
            <p:nvPr userDrawn="1"/>
          </p:nvSpPr>
          <p:spPr bwMode="auto">
            <a:xfrm>
              <a:off x="63230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7" name="íṥļïďé">
              <a:extLst>
                <a:ext uri="{FF2B5EF4-FFF2-40B4-BE49-F238E27FC236}">
                  <a16:creationId xmlns:a16="http://schemas.microsoft.com/office/drawing/2014/main" id="{528FE62F-C06E-494D-890A-E500CB0FA152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8" name="ïṧḻiďê">
              <a:extLst>
                <a:ext uri="{FF2B5EF4-FFF2-40B4-BE49-F238E27FC236}">
                  <a16:creationId xmlns:a16="http://schemas.microsoft.com/office/drawing/2014/main" id="{8B84DC9C-E176-480B-8065-BCFEF8896A50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9" name="îṩḻiḓê">
              <a:extLst>
                <a:ext uri="{FF2B5EF4-FFF2-40B4-BE49-F238E27FC236}">
                  <a16:creationId xmlns:a16="http://schemas.microsoft.com/office/drawing/2014/main" id="{C0870957-D403-4800-B4B0-C7C51FF56F3D}"/>
                </a:ext>
              </a:extLst>
            </p:cNvPr>
            <p:cNvSpPr/>
            <p:nvPr userDrawn="1"/>
          </p:nvSpPr>
          <p:spPr bwMode="auto">
            <a:xfrm>
              <a:off x="6802438" y="2828925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0" name="îŝ1îḍê">
              <a:extLst>
                <a:ext uri="{FF2B5EF4-FFF2-40B4-BE49-F238E27FC236}">
                  <a16:creationId xmlns:a16="http://schemas.microsoft.com/office/drawing/2014/main" id="{7A1C70C2-D69C-44C8-B8DC-90B30B3FDED9}"/>
                </a:ext>
              </a:extLst>
            </p:cNvPr>
            <p:cNvSpPr/>
            <p:nvPr userDrawn="1"/>
          </p:nvSpPr>
          <p:spPr bwMode="auto">
            <a:xfrm>
              <a:off x="6323013" y="2220913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1" name="iṩ1îďé">
              <a:extLst>
                <a:ext uri="{FF2B5EF4-FFF2-40B4-BE49-F238E27FC236}">
                  <a16:creationId xmlns:a16="http://schemas.microsoft.com/office/drawing/2014/main" id="{5B66572D-DFEB-44A8-BCB9-6D2A59AFB190}"/>
                </a:ext>
              </a:extLst>
            </p:cNvPr>
            <p:cNvSpPr/>
            <p:nvPr userDrawn="1"/>
          </p:nvSpPr>
          <p:spPr bwMode="auto">
            <a:xfrm>
              <a:off x="6323013" y="2351088"/>
              <a:ext cx="485775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2" name="iSḻíḍe">
              <a:extLst>
                <a:ext uri="{FF2B5EF4-FFF2-40B4-BE49-F238E27FC236}">
                  <a16:creationId xmlns:a16="http://schemas.microsoft.com/office/drawing/2014/main" id="{D984DE33-B66B-4605-B722-BDA90EFA2831}"/>
                </a:ext>
              </a:extLst>
            </p:cNvPr>
            <p:cNvSpPr/>
            <p:nvPr userDrawn="1"/>
          </p:nvSpPr>
          <p:spPr bwMode="auto">
            <a:xfrm>
              <a:off x="68580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3" name="íṥ1iḍè">
              <a:extLst>
                <a:ext uri="{FF2B5EF4-FFF2-40B4-BE49-F238E27FC236}">
                  <a16:creationId xmlns:a16="http://schemas.microsoft.com/office/drawing/2014/main" id="{F0B0A692-2AA2-49A8-8776-54DE8F97BD1C}"/>
                </a:ext>
              </a:extLst>
            </p:cNvPr>
            <p:cNvSpPr/>
            <p:nvPr userDrawn="1"/>
          </p:nvSpPr>
          <p:spPr bwMode="auto">
            <a:xfrm>
              <a:off x="63230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4" name="íṡ1íḓe">
              <a:extLst>
                <a:ext uri="{FF2B5EF4-FFF2-40B4-BE49-F238E27FC236}">
                  <a16:creationId xmlns:a16="http://schemas.microsoft.com/office/drawing/2014/main" id="{BEFC73D3-5675-4EB0-B738-8D4610EC0F81}"/>
                </a:ext>
              </a:extLst>
            </p:cNvPr>
            <p:cNvSpPr/>
            <p:nvPr userDrawn="1"/>
          </p:nvSpPr>
          <p:spPr bwMode="auto">
            <a:xfrm>
              <a:off x="6580188" y="2479675"/>
              <a:ext cx="71596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5" name="íŝľíḑe">
              <a:extLst>
                <a:ext uri="{FF2B5EF4-FFF2-40B4-BE49-F238E27FC236}">
                  <a16:creationId xmlns:a16="http://schemas.microsoft.com/office/drawing/2014/main" id="{97EFC203-7A3E-48BB-A2FD-D90A595525E0}"/>
                </a:ext>
              </a:extLst>
            </p:cNvPr>
            <p:cNvSpPr/>
            <p:nvPr userDrawn="1"/>
          </p:nvSpPr>
          <p:spPr bwMode="auto">
            <a:xfrm>
              <a:off x="6802438" y="2220913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6" name="ïṥ1îḓè">
              <a:extLst>
                <a:ext uri="{FF2B5EF4-FFF2-40B4-BE49-F238E27FC236}">
                  <a16:creationId xmlns:a16="http://schemas.microsoft.com/office/drawing/2014/main" id="{6B048252-4BA1-459A-8E21-21E8ABB24328}"/>
                </a:ext>
              </a:extLst>
            </p:cNvPr>
            <p:cNvSpPr/>
            <p:nvPr userDrawn="1"/>
          </p:nvSpPr>
          <p:spPr bwMode="auto">
            <a:xfrm>
              <a:off x="5002213" y="2828925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7" name="íṡḷidê">
              <a:extLst>
                <a:ext uri="{FF2B5EF4-FFF2-40B4-BE49-F238E27FC236}">
                  <a16:creationId xmlns:a16="http://schemas.microsoft.com/office/drawing/2014/main" id="{03A25EA9-7DDA-4805-9FEC-F058B82DA08B}"/>
                </a:ext>
              </a:extLst>
            </p:cNvPr>
            <p:cNvSpPr/>
            <p:nvPr userDrawn="1"/>
          </p:nvSpPr>
          <p:spPr bwMode="auto">
            <a:xfrm>
              <a:off x="5002213" y="2957513"/>
              <a:ext cx="484188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8" name="ïSḻïḑe">
              <a:extLst>
                <a:ext uri="{FF2B5EF4-FFF2-40B4-BE49-F238E27FC236}">
                  <a16:creationId xmlns:a16="http://schemas.microsoft.com/office/drawing/2014/main" id="{D9AA68E9-86CB-48C9-B761-014F222EFC4A}"/>
                </a:ext>
              </a:extLst>
            </p:cNvPr>
            <p:cNvSpPr/>
            <p:nvPr userDrawn="1"/>
          </p:nvSpPr>
          <p:spPr bwMode="auto">
            <a:xfrm>
              <a:off x="55372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9" name="ïŝlîḋe">
              <a:extLst>
                <a:ext uri="{FF2B5EF4-FFF2-40B4-BE49-F238E27FC236}">
                  <a16:creationId xmlns:a16="http://schemas.microsoft.com/office/drawing/2014/main" id="{DF610359-D451-47FC-B413-07CEFB9F9C35}"/>
                </a:ext>
              </a:extLst>
            </p:cNvPr>
            <p:cNvSpPr/>
            <p:nvPr userDrawn="1"/>
          </p:nvSpPr>
          <p:spPr bwMode="auto">
            <a:xfrm>
              <a:off x="50022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0" name="ïṣḷidè">
              <a:extLst>
                <a:ext uri="{FF2B5EF4-FFF2-40B4-BE49-F238E27FC236}">
                  <a16:creationId xmlns:a16="http://schemas.microsoft.com/office/drawing/2014/main" id="{86EE2074-5A4B-4337-8775-5260608E4AE3}"/>
                </a:ext>
              </a:extLst>
            </p:cNvPr>
            <p:cNvSpPr/>
            <p:nvPr userDrawn="1"/>
          </p:nvSpPr>
          <p:spPr bwMode="auto">
            <a:xfrm>
              <a:off x="5260975" y="3086100"/>
              <a:ext cx="711200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1" name="íṧľîḓê">
              <a:extLst>
                <a:ext uri="{FF2B5EF4-FFF2-40B4-BE49-F238E27FC236}">
                  <a16:creationId xmlns:a16="http://schemas.microsoft.com/office/drawing/2014/main" id="{6EC69D07-7976-4CBC-A4D7-08893777C416}"/>
                </a:ext>
              </a:extLst>
            </p:cNvPr>
            <p:cNvSpPr/>
            <p:nvPr userDrawn="1"/>
          </p:nvSpPr>
          <p:spPr bwMode="auto">
            <a:xfrm>
              <a:off x="5481638" y="2828925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2" name="ïšḷîḓe">
              <a:extLst>
                <a:ext uri="{FF2B5EF4-FFF2-40B4-BE49-F238E27FC236}">
                  <a16:creationId xmlns:a16="http://schemas.microsoft.com/office/drawing/2014/main" id="{E2772D90-51F0-4204-B851-A02DEE86D856}"/>
                </a:ext>
              </a:extLst>
            </p:cNvPr>
            <p:cNvSpPr/>
            <p:nvPr userDrawn="1"/>
          </p:nvSpPr>
          <p:spPr bwMode="auto">
            <a:xfrm>
              <a:off x="5002213" y="2220913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3" name="îśliḍé">
              <a:extLst>
                <a:ext uri="{FF2B5EF4-FFF2-40B4-BE49-F238E27FC236}">
                  <a16:creationId xmlns:a16="http://schemas.microsoft.com/office/drawing/2014/main" id="{44D1F172-0703-47BB-83D1-B7A21C244CE8}"/>
                </a:ext>
              </a:extLst>
            </p:cNvPr>
            <p:cNvSpPr/>
            <p:nvPr userDrawn="1"/>
          </p:nvSpPr>
          <p:spPr bwMode="auto">
            <a:xfrm>
              <a:off x="5002213" y="2351088"/>
              <a:ext cx="484188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4" name="iṥ1iḍê">
              <a:extLst>
                <a:ext uri="{FF2B5EF4-FFF2-40B4-BE49-F238E27FC236}">
                  <a16:creationId xmlns:a16="http://schemas.microsoft.com/office/drawing/2014/main" id="{C1846154-6A09-41D4-A7EF-0CB356236893}"/>
                </a:ext>
              </a:extLst>
            </p:cNvPr>
            <p:cNvSpPr/>
            <p:nvPr userDrawn="1"/>
          </p:nvSpPr>
          <p:spPr bwMode="auto">
            <a:xfrm>
              <a:off x="55372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5" name="ïSlïḑe">
              <a:extLst>
                <a:ext uri="{FF2B5EF4-FFF2-40B4-BE49-F238E27FC236}">
                  <a16:creationId xmlns:a16="http://schemas.microsoft.com/office/drawing/2014/main" id="{9128667E-8000-48E0-BD9C-7C3A79C24791}"/>
                </a:ext>
              </a:extLst>
            </p:cNvPr>
            <p:cNvSpPr/>
            <p:nvPr userDrawn="1"/>
          </p:nvSpPr>
          <p:spPr bwMode="auto">
            <a:xfrm>
              <a:off x="50022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6" name="ïśľîďe">
              <a:extLst>
                <a:ext uri="{FF2B5EF4-FFF2-40B4-BE49-F238E27FC236}">
                  <a16:creationId xmlns:a16="http://schemas.microsoft.com/office/drawing/2014/main" id="{951096FD-1D28-4525-A0BE-386E83D0C537}"/>
                </a:ext>
              </a:extLst>
            </p:cNvPr>
            <p:cNvSpPr/>
            <p:nvPr userDrawn="1"/>
          </p:nvSpPr>
          <p:spPr bwMode="auto">
            <a:xfrm>
              <a:off x="5260975" y="2479675"/>
              <a:ext cx="711200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7" name="îṡľiďé">
              <a:extLst>
                <a:ext uri="{FF2B5EF4-FFF2-40B4-BE49-F238E27FC236}">
                  <a16:creationId xmlns:a16="http://schemas.microsoft.com/office/drawing/2014/main" id="{170BF2D8-5469-447F-AFAD-C77832D6C9D9}"/>
                </a:ext>
              </a:extLst>
            </p:cNvPr>
            <p:cNvSpPr/>
            <p:nvPr userDrawn="1"/>
          </p:nvSpPr>
          <p:spPr bwMode="auto">
            <a:xfrm>
              <a:off x="5481638" y="2220913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8" name="ís1iḋê">
              <a:extLst>
                <a:ext uri="{FF2B5EF4-FFF2-40B4-BE49-F238E27FC236}">
                  <a16:creationId xmlns:a16="http://schemas.microsoft.com/office/drawing/2014/main" id="{EA9A0FDE-4252-4FEC-9150-2157D1EEEDE9}"/>
                </a:ext>
              </a:extLst>
            </p:cNvPr>
            <p:cNvSpPr/>
            <p:nvPr userDrawn="1"/>
          </p:nvSpPr>
          <p:spPr bwMode="auto">
            <a:xfrm>
              <a:off x="4625975" y="1865313"/>
              <a:ext cx="2946400" cy="1879600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9" name="ïš1idè">
              <a:extLst>
                <a:ext uri="{FF2B5EF4-FFF2-40B4-BE49-F238E27FC236}">
                  <a16:creationId xmlns:a16="http://schemas.microsoft.com/office/drawing/2014/main" id="{218FF8F3-475B-49BC-BBE5-70957A769500}"/>
                </a:ext>
              </a:extLst>
            </p:cNvPr>
            <p:cNvSpPr/>
            <p:nvPr userDrawn="1"/>
          </p:nvSpPr>
          <p:spPr bwMode="auto">
            <a:xfrm>
              <a:off x="6919913" y="3152775"/>
              <a:ext cx="409575" cy="212725"/>
            </a:xfrm>
            <a:custGeom>
              <a:avLst/>
              <a:gdLst>
                <a:gd name="T0" fmla="*/ 2 w 111"/>
                <a:gd name="T1" fmla="*/ 37 h 58"/>
                <a:gd name="T2" fmla="*/ 2 w 111"/>
                <a:gd name="T3" fmla="*/ 41 h 58"/>
                <a:gd name="T4" fmla="*/ 0 w 111"/>
                <a:gd name="T5" fmla="*/ 58 h 58"/>
                <a:gd name="T6" fmla="*/ 24 w 111"/>
                <a:gd name="T7" fmla="*/ 58 h 58"/>
                <a:gd name="T8" fmla="*/ 2 w 111"/>
                <a:gd name="T9" fmla="*/ 37 h 58"/>
                <a:gd name="T10" fmla="*/ 69 w 111"/>
                <a:gd name="T11" fmla="*/ 0 h 58"/>
                <a:gd name="T12" fmla="*/ 41 w 111"/>
                <a:gd name="T13" fmla="*/ 0 h 58"/>
                <a:gd name="T14" fmla="*/ 39 w 111"/>
                <a:gd name="T15" fmla="*/ 1 h 58"/>
                <a:gd name="T16" fmla="*/ 36 w 111"/>
                <a:gd name="T17" fmla="*/ 2 h 58"/>
                <a:gd name="T18" fmla="*/ 77 w 111"/>
                <a:gd name="T19" fmla="*/ 40 h 58"/>
                <a:gd name="T20" fmla="*/ 73 w 111"/>
                <a:gd name="T21" fmla="*/ 58 h 58"/>
                <a:gd name="T22" fmla="*/ 110 w 111"/>
                <a:gd name="T23" fmla="*/ 58 h 58"/>
                <a:gd name="T24" fmla="*/ 92 w 111"/>
                <a:gd name="T25" fmla="*/ 13 h 58"/>
                <a:gd name="T26" fmla="*/ 92 w 111"/>
                <a:gd name="T27" fmla="*/ 13 h 58"/>
                <a:gd name="T28" fmla="*/ 69 w 111"/>
                <a:gd name="T2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58">
                  <a:moveTo>
                    <a:pt x="2" y="37"/>
                  </a:moveTo>
                  <a:cubicBezTo>
                    <a:pt x="2" y="41"/>
                    <a:pt x="2" y="41"/>
                    <a:pt x="2" y="41"/>
                  </a:cubicBezTo>
                  <a:cubicBezTo>
                    <a:pt x="0" y="46"/>
                    <a:pt x="0" y="52"/>
                    <a:pt x="0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" y="37"/>
                    <a:pt x="2" y="37"/>
                    <a:pt x="2" y="37"/>
                  </a:cubicBezTo>
                  <a:moveTo>
                    <a:pt x="69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39" y="0"/>
                    <a:pt x="39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11" y="41"/>
                    <a:pt x="105" y="24"/>
                    <a:pt x="92" y="13"/>
                  </a:cubicBezTo>
                  <a:cubicBezTo>
                    <a:pt x="92" y="13"/>
                    <a:pt x="92" y="13"/>
                    <a:pt x="92" y="13"/>
                  </a:cubicBezTo>
                  <a:cubicBezTo>
                    <a:pt x="86" y="7"/>
                    <a:pt x="78" y="2"/>
                    <a:pt x="69" y="0"/>
                  </a:cubicBezTo>
                </a:path>
              </a:pathLst>
            </a:custGeom>
            <a:solidFill>
              <a:srgbClr val="1327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0" name="iSľíḑé">
              <a:extLst>
                <a:ext uri="{FF2B5EF4-FFF2-40B4-BE49-F238E27FC236}">
                  <a16:creationId xmlns:a16="http://schemas.microsoft.com/office/drawing/2014/main" id="{6DBF8FCE-4C76-4049-971D-EADCFACCF652}"/>
                </a:ext>
              </a:extLst>
            </p:cNvPr>
            <p:cNvSpPr/>
            <p:nvPr userDrawn="1"/>
          </p:nvSpPr>
          <p:spPr bwMode="auto">
            <a:xfrm>
              <a:off x="7070725" y="3144838"/>
              <a:ext cx="103188" cy="7938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1" name="îslîďè">
              <a:extLst>
                <a:ext uri="{FF2B5EF4-FFF2-40B4-BE49-F238E27FC236}">
                  <a16:creationId xmlns:a16="http://schemas.microsoft.com/office/drawing/2014/main" id="{B83FFC27-5F09-4196-80BF-7A724DEBA8DE}"/>
                </a:ext>
              </a:extLst>
            </p:cNvPr>
            <p:cNvSpPr/>
            <p:nvPr userDrawn="1"/>
          </p:nvSpPr>
          <p:spPr bwMode="auto">
            <a:xfrm>
              <a:off x="6919913" y="3365500"/>
              <a:ext cx="630238" cy="373063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2" name="îSľiḑe">
              <a:extLst>
                <a:ext uri="{FF2B5EF4-FFF2-40B4-BE49-F238E27FC236}">
                  <a16:creationId xmlns:a16="http://schemas.microsoft.com/office/drawing/2014/main" id="{8107D903-1D25-48EF-8568-1D05CA595CBE}"/>
                </a:ext>
              </a:extLst>
            </p:cNvPr>
            <p:cNvSpPr/>
            <p:nvPr userDrawn="1"/>
          </p:nvSpPr>
          <p:spPr bwMode="auto">
            <a:xfrm>
              <a:off x="4748213" y="1952625"/>
              <a:ext cx="2706688" cy="111125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3" name="íSļíḓè">
              <a:extLst>
                <a:ext uri="{FF2B5EF4-FFF2-40B4-BE49-F238E27FC236}">
                  <a16:creationId xmlns:a16="http://schemas.microsoft.com/office/drawing/2014/main" id="{07D4F4CD-7559-4DD8-9AA1-FC0E49095616}"/>
                </a:ext>
              </a:extLst>
            </p:cNvPr>
            <p:cNvSpPr/>
            <p:nvPr userDrawn="1"/>
          </p:nvSpPr>
          <p:spPr bwMode="auto">
            <a:xfrm>
              <a:off x="4625975" y="3521075"/>
              <a:ext cx="2946400" cy="223838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4" name="ïṧḻídé">
              <a:extLst>
                <a:ext uri="{FF2B5EF4-FFF2-40B4-BE49-F238E27FC236}">
                  <a16:creationId xmlns:a16="http://schemas.microsoft.com/office/drawing/2014/main" id="{6B3E522A-87EC-47CB-B706-8551808E4479}"/>
                </a:ext>
              </a:extLst>
            </p:cNvPr>
            <p:cNvSpPr/>
            <p:nvPr userDrawn="1"/>
          </p:nvSpPr>
          <p:spPr bwMode="auto">
            <a:xfrm>
              <a:off x="7265988" y="2019300"/>
              <a:ext cx="60325" cy="58738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5" name="iṧlïḋê">
              <a:extLst>
                <a:ext uri="{FF2B5EF4-FFF2-40B4-BE49-F238E27FC236}">
                  <a16:creationId xmlns:a16="http://schemas.microsoft.com/office/drawing/2014/main" id="{FD7F2B50-0576-4B48-BD67-409BDF61A3B4}"/>
                </a:ext>
              </a:extLst>
            </p:cNvPr>
            <p:cNvSpPr/>
            <p:nvPr userDrawn="1"/>
          </p:nvSpPr>
          <p:spPr bwMode="auto">
            <a:xfrm>
              <a:off x="7162800" y="2019300"/>
              <a:ext cx="60325" cy="58738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6" name="ïSḷîḍê">
              <a:extLst>
                <a:ext uri="{FF2B5EF4-FFF2-40B4-BE49-F238E27FC236}">
                  <a16:creationId xmlns:a16="http://schemas.microsoft.com/office/drawing/2014/main" id="{0A250E1E-80BB-4887-BF8C-BCF42B27425D}"/>
                </a:ext>
              </a:extLst>
            </p:cNvPr>
            <p:cNvSpPr/>
            <p:nvPr userDrawn="1"/>
          </p:nvSpPr>
          <p:spPr bwMode="auto">
            <a:xfrm>
              <a:off x="7059613" y="2019300"/>
              <a:ext cx="60325" cy="58738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7" name="íşlîḍe">
              <a:extLst>
                <a:ext uri="{FF2B5EF4-FFF2-40B4-BE49-F238E27FC236}">
                  <a16:creationId xmlns:a16="http://schemas.microsoft.com/office/drawing/2014/main" id="{BF9DF52F-9D83-4851-96C1-B1756C6635CA}"/>
                </a:ext>
              </a:extLst>
            </p:cNvPr>
            <p:cNvSpPr/>
            <p:nvPr userDrawn="1"/>
          </p:nvSpPr>
          <p:spPr bwMode="auto">
            <a:xfrm>
              <a:off x="4438650" y="2619375"/>
              <a:ext cx="741363" cy="1538288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8" name="îṧliḓe">
              <a:extLst>
                <a:ext uri="{FF2B5EF4-FFF2-40B4-BE49-F238E27FC236}">
                  <a16:creationId xmlns:a16="http://schemas.microsoft.com/office/drawing/2014/main" id="{9DE8548E-3E05-4B67-927D-31DC785333E5}"/>
                </a:ext>
              </a:extLst>
            </p:cNvPr>
            <p:cNvSpPr/>
            <p:nvPr userDrawn="1"/>
          </p:nvSpPr>
          <p:spPr bwMode="auto">
            <a:xfrm>
              <a:off x="4545013" y="2887663"/>
              <a:ext cx="457200" cy="95250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9" name="ïšľïḍê">
              <a:extLst>
                <a:ext uri="{FF2B5EF4-FFF2-40B4-BE49-F238E27FC236}">
                  <a16:creationId xmlns:a16="http://schemas.microsoft.com/office/drawing/2014/main" id="{9DDB46BA-311A-4A6B-957B-4EC8F71B0C47}"/>
                </a:ext>
              </a:extLst>
            </p:cNvPr>
            <p:cNvSpPr/>
            <p:nvPr userDrawn="1"/>
          </p:nvSpPr>
          <p:spPr bwMode="auto">
            <a:xfrm>
              <a:off x="4419600" y="3225800"/>
              <a:ext cx="454025" cy="96838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0" name="ïṡ1îḍe">
              <a:extLst>
                <a:ext uri="{FF2B5EF4-FFF2-40B4-BE49-F238E27FC236}">
                  <a16:creationId xmlns:a16="http://schemas.microsoft.com/office/drawing/2014/main" id="{2B840719-EFA3-4C12-8F06-BF63030F9294}"/>
                </a:ext>
              </a:extLst>
            </p:cNvPr>
            <p:cNvSpPr/>
            <p:nvPr userDrawn="1"/>
          </p:nvSpPr>
          <p:spPr bwMode="auto">
            <a:xfrm>
              <a:off x="4271963" y="3565525"/>
              <a:ext cx="465138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1" name="iṧḷídè">
              <a:extLst>
                <a:ext uri="{FF2B5EF4-FFF2-40B4-BE49-F238E27FC236}">
                  <a16:creationId xmlns:a16="http://schemas.microsoft.com/office/drawing/2014/main" id="{B11A465F-18FD-41B1-BBE5-D466DE4FBADA}"/>
                </a:ext>
              </a:extLst>
            </p:cNvPr>
            <p:cNvSpPr/>
            <p:nvPr userDrawn="1"/>
          </p:nvSpPr>
          <p:spPr bwMode="auto">
            <a:xfrm>
              <a:off x="4137025" y="3903663"/>
              <a:ext cx="449263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2" name="íṥļïďê">
              <a:extLst>
                <a:ext uri="{FF2B5EF4-FFF2-40B4-BE49-F238E27FC236}">
                  <a16:creationId xmlns:a16="http://schemas.microsoft.com/office/drawing/2014/main" id="{A5D40688-4178-488D-A401-C63E9F9901D1}"/>
                </a:ext>
              </a:extLst>
            </p:cNvPr>
            <p:cNvSpPr/>
            <p:nvPr userDrawn="1"/>
          </p:nvSpPr>
          <p:spPr bwMode="auto">
            <a:xfrm>
              <a:off x="6978650" y="2998788"/>
              <a:ext cx="919163" cy="116998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3" name="iṡlîḑe">
              <a:extLst>
                <a:ext uri="{FF2B5EF4-FFF2-40B4-BE49-F238E27FC236}">
                  <a16:creationId xmlns:a16="http://schemas.microsoft.com/office/drawing/2014/main" id="{2CF9FD8F-7AB9-4413-BA6D-0AEC3AAA703B}"/>
                </a:ext>
              </a:extLst>
            </p:cNvPr>
            <p:cNvSpPr/>
            <p:nvPr userDrawn="1"/>
          </p:nvSpPr>
          <p:spPr bwMode="auto">
            <a:xfrm>
              <a:off x="7304088" y="3384550"/>
              <a:ext cx="515938" cy="692150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5" name="îşļïďê">
              <a:extLst>
                <a:ext uri="{FF2B5EF4-FFF2-40B4-BE49-F238E27FC236}">
                  <a16:creationId xmlns:a16="http://schemas.microsoft.com/office/drawing/2014/main" id="{0A260C92-F3B0-4023-85C8-AE243717C868}"/>
                </a:ext>
              </a:extLst>
            </p:cNvPr>
            <p:cNvSpPr/>
            <p:nvPr userDrawn="1"/>
          </p:nvSpPr>
          <p:spPr bwMode="auto">
            <a:xfrm>
              <a:off x="5035550" y="5718175"/>
              <a:ext cx="2116138" cy="165100"/>
            </a:xfrm>
            <a:custGeom>
              <a:avLst/>
              <a:gdLst>
                <a:gd name="T0" fmla="*/ 552 w 574"/>
                <a:gd name="T1" fmla="*/ 45 h 45"/>
                <a:gd name="T2" fmla="*/ 22 w 574"/>
                <a:gd name="T3" fmla="*/ 45 h 45"/>
                <a:gd name="T4" fmla="*/ 0 w 574"/>
                <a:gd name="T5" fmla="*/ 22 h 45"/>
                <a:gd name="T6" fmla="*/ 22 w 574"/>
                <a:gd name="T7" fmla="*/ 0 h 45"/>
                <a:gd name="T8" fmla="*/ 552 w 574"/>
                <a:gd name="T9" fmla="*/ 0 h 45"/>
                <a:gd name="T10" fmla="*/ 574 w 574"/>
                <a:gd name="T11" fmla="*/ 22 h 45"/>
                <a:gd name="T12" fmla="*/ 552 w 574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4" h="45">
                  <a:moveTo>
                    <a:pt x="552" y="45"/>
                  </a:moveTo>
                  <a:cubicBezTo>
                    <a:pt x="22" y="45"/>
                    <a:pt x="22" y="45"/>
                    <a:pt x="22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552" y="0"/>
                    <a:pt x="552" y="0"/>
                    <a:pt x="552" y="0"/>
                  </a:cubicBezTo>
                  <a:cubicBezTo>
                    <a:pt x="564" y="0"/>
                    <a:pt x="574" y="10"/>
                    <a:pt x="574" y="22"/>
                  </a:cubicBezTo>
                  <a:cubicBezTo>
                    <a:pt x="574" y="35"/>
                    <a:pt x="564" y="45"/>
                    <a:pt x="552" y="45"/>
                  </a:cubicBezTo>
                  <a:close/>
                </a:path>
              </a:pathLst>
            </a:cu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6" name="îšļiḍé">
              <a:extLst>
                <a:ext uri="{FF2B5EF4-FFF2-40B4-BE49-F238E27FC236}">
                  <a16:creationId xmlns:a16="http://schemas.microsoft.com/office/drawing/2014/main" id="{8C93FE08-C1DB-4C63-A6F7-045825FBC507}"/>
                </a:ext>
              </a:extLst>
            </p:cNvPr>
            <p:cNvSpPr/>
            <p:nvPr userDrawn="1"/>
          </p:nvSpPr>
          <p:spPr bwMode="auto">
            <a:xfrm>
              <a:off x="6083300" y="4378325"/>
              <a:ext cx="755650" cy="1222375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7" name="í$ḷïḑe">
              <a:extLst>
                <a:ext uri="{FF2B5EF4-FFF2-40B4-BE49-F238E27FC236}">
                  <a16:creationId xmlns:a16="http://schemas.microsoft.com/office/drawing/2014/main" id="{268228F1-6F0B-4E91-AE44-C2016832ECA0}"/>
                </a:ext>
              </a:extLst>
            </p:cNvPr>
            <p:cNvSpPr/>
            <p:nvPr userDrawn="1"/>
          </p:nvSpPr>
          <p:spPr bwMode="auto">
            <a:xfrm>
              <a:off x="6334125" y="5600700"/>
              <a:ext cx="474663" cy="184150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8" name="ís1îḓe">
              <a:extLst>
                <a:ext uri="{FF2B5EF4-FFF2-40B4-BE49-F238E27FC236}">
                  <a16:creationId xmlns:a16="http://schemas.microsoft.com/office/drawing/2014/main" id="{1397C844-D6C2-4182-B960-D55C92040818}"/>
                </a:ext>
              </a:extLst>
            </p:cNvPr>
            <p:cNvSpPr/>
            <p:nvPr userDrawn="1"/>
          </p:nvSpPr>
          <p:spPr bwMode="auto">
            <a:xfrm>
              <a:off x="5353050" y="4378325"/>
              <a:ext cx="755650" cy="1222375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9" name="îsḷïdè">
              <a:extLst>
                <a:ext uri="{FF2B5EF4-FFF2-40B4-BE49-F238E27FC236}">
                  <a16:creationId xmlns:a16="http://schemas.microsoft.com/office/drawing/2014/main" id="{C1840427-BBE8-46E9-9A0F-1A164B34FF92}"/>
                </a:ext>
              </a:extLst>
            </p:cNvPr>
            <p:cNvSpPr/>
            <p:nvPr userDrawn="1"/>
          </p:nvSpPr>
          <p:spPr bwMode="auto">
            <a:xfrm>
              <a:off x="6083300" y="4651375"/>
              <a:ext cx="611188" cy="949325"/>
            </a:xfrm>
            <a:custGeom>
              <a:avLst/>
              <a:gdLst>
                <a:gd name="T0" fmla="*/ 112 w 166"/>
                <a:gd name="T1" fmla="*/ 258 h 258"/>
                <a:gd name="T2" fmla="*/ 113 w 166"/>
                <a:gd name="T3" fmla="*/ 255 h 258"/>
                <a:gd name="T4" fmla="*/ 137 w 166"/>
                <a:gd name="T5" fmla="*/ 130 h 258"/>
                <a:gd name="T6" fmla="*/ 160 w 166"/>
                <a:gd name="T7" fmla="*/ 37 h 258"/>
                <a:gd name="T8" fmla="*/ 164 w 166"/>
                <a:gd name="T9" fmla="*/ 18 h 258"/>
                <a:gd name="T10" fmla="*/ 164 w 166"/>
                <a:gd name="T11" fmla="*/ 12 h 258"/>
                <a:gd name="T12" fmla="*/ 165 w 166"/>
                <a:gd name="T13" fmla="*/ 2 h 258"/>
                <a:gd name="T14" fmla="*/ 166 w 166"/>
                <a:gd name="T15" fmla="*/ 0 h 258"/>
                <a:gd name="T16" fmla="*/ 0 w 166"/>
                <a:gd name="T17" fmla="*/ 0 h 258"/>
                <a:gd name="T18" fmla="*/ 0 w 166"/>
                <a:gd name="T19" fmla="*/ 28 h 258"/>
                <a:gd name="T20" fmla="*/ 104 w 166"/>
                <a:gd name="T21" fmla="*/ 28 h 258"/>
                <a:gd name="T22" fmla="*/ 68 w 166"/>
                <a:gd name="T23" fmla="*/ 258 h 258"/>
                <a:gd name="T24" fmla="*/ 112 w 166"/>
                <a:gd name="T25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258">
                  <a:moveTo>
                    <a:pt x="112" y="258"/>
                  </a:moveTo>
                  <a:cubicBezTo>
                    <a:pt x="112" y="257"/>
                    <a:pt x="112" y="256"/>
                    <a:pt x="113" y="255"/>
                  </a:cubicBezTo>
                  <a:cubicBezTo>
                    <a:pt x="121" y="227"/>
                    <a:pt x="129" y="159"/>
                    <a:pt x="137" y="130"/>
                  </a:cubicBezTo>
                  <a:cubicBezTo>
                    <a:pt x="146" y="99"/>
                    <a:pt x="154" y="69"/>
                    <a:pt x="160" y="37"/>
                  </a:cubicBezTo>
                  <a:cubicBezTo>
                    <a:pt x="161" y="31"/>
                    <a:pt x="162" y="24"/>
                    <a:pt x="164" y="18"/>
                  </a:cubicBezTo>
                  <a:cubicBezTo>
                    <a:pt x="164" y="15"/>
                    <a:pt x="164" y="13"/>
                    <a:pt x="164" y="12"/>
                  </a:cubicBezTo>
                  <a:cubicBezTo>
                    <a:pt x="165" y="9"/>
                    <a:pt x="165" y="5"/>
                    <a:pt x="165" y="2"/>
                  </a:cubicBezTo>
                  <a:cubicBezTo>
                    <a:pt x="166" y="1"/>
                    <a:pt x="166" y="1"/>
                    <a:pt x="16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68" y="258"/>
                    <a:pt x="68" y="258"/>
                    <a:pt x="68" y="258"/>
                  </a:cubicBezTo>
                  <a:cubicBezTo>
                    <a:pt x="112" y="258"/>
                    <a:pt x="112" y="258"/>
                    <a:pt x="112" y="258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0" name="işḷíďe">
              <a:extLst>
                <a:ext uri="{FF2B5EF4-FFF2-40B4-BE49-F238E27FC236}">
                  <a16:creationId xmlns:a16="http://schemas.microsoft.com/office/drawing/2014/main" id="{DF7F48BD-91E0-490D-B049-E7838B62C56D}"/>
                </a:ext>
              </a:extLst>
            </p:cNvPr>
            <p:cNvSpPr/>
            <p:nvPr userDrawn="1"/>
          </p:nvSpPr>
          <p:spPr bwMode="auto">
            <a:xfrm>
              <a:off x="5518150" y="4651375"/>
              <a:ext cx="590550" cy="949325"/>
            </a:xfrm>
            <a:custGeom>
              <a:avLst/>
              <a:gdLst>
                <a:gd name="T0" fmla="*/ 160 w 160"/>
                <a:gd name="T1" fmla="*/ 0 h 258"/>
                <a:gd name="T2" fmla="*/ 0 w 160"/>
                <a:gd name="T3" fmla="*/ 0 h 258"/>
                <a:gd name="T4" fmla="*/ 2 w 160"/>
                <a:gd name="T5" fmla="*/ 9 h 258"/>
                <a:gd name="T6" fmla="*/ 28 w 160"/>
                <a:gd name="T7" fmla="*/ 91 h 258"/>
                <a:gd name="T8" fmla="*/ 52 w 160"/>
                <a:gd name="T9" fmla="*/ 171 h 258"/>
                <a:gd name="T10" fmla="*/ 63 w 160"/>
                <a:gd name="T11" fmla="*/ 258 h 258"/>
                <a:gd name="T12" fmla="*/ 91 w 160"/>
                <a:gd name="T13" fmla="*/ 258 h 258"/>
                <a:gd name="T14" fmla="*/ 55 w 160"/>
                <a:gd name="T15" fmla="*/ 28 h 258"/>
                <a:gd name="T16" fmla="*/ 160 w 160"/>
                <a:gd name="T17" fmla="*/ 28 h 258"/>
                <a:gd name="T18" fmla="*/ 160 w 160"/>
                <a:gd name="T19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258">
                  <a:moveTo>
                    <a:pt x="16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6"/>
                    <a:pt x="2" y="9"/>
                  </a:cubicBezTo>
                  <a:cubicBezTo>
                    <a:pt x="9" y="37"/>
                    <a:pt x="19" y="64"/>
                    <a:pt x="28" y="91"/>
                  </a:cubicBezTo>
                  <a:cubicBezTo>
                    <a:pt x="36" y="117"/>
                    <a:pt x="46" y="144"/>
                    <a:pt x="52" y="171"/>
                  </a:cubicBezTo>
                  <a:cubicBezTo>
                    <a:pt x="56" y="186"/>
                    <a:pt x="59" y="242"/>
                    <a:pt x="63" y="258"/>
                  </a:cubicBezTo>
                  <a:cubicBezTo>
                    <a:pt x="91" y="258"/>
                    <a:pt x="91" y="258"/>
                    <a:pt x="91" y="25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0" y="0"/>
                    <a:pt x="160" y="0"/>
                    <a:pt x="160" y="0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1" name="ïṥļîdê">
              <a:extLst>
                <a:ext uri="{FF2B5EF4-FFF2-40B4-BE49-F238E27FC236}">
                  <a16:creationId xmlns:a16="http://schemas.microsoft.com/office/drawing/2014/main" id="{135D0D4C-D18D-4EA1-8E4B-F3F3E061127A}"/>
                </a:ext>
              </a:extLst>
            </p:cNvPr>
            <p:cNvSpPr/>
            <p:nvPr userDrawn="1"/>
          </p:nvSpPr>
          <p:spPr bwMode="auto">
            <a:xfrm>
              <a:off x="5634038" y="2728913"/>
              <a:ext cx="190500" cy="284163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2" name="isḻîḋè">
              <a:extLst>
                <a:ext uri="{FF2B5EF4-FFF2-40B4-BE49-F238E27FC236}">
                  <a16:creationId xmlns:a16="http://schemas.microsoft.com/office/drawing/2014/main" id="{711F711D-E110-421D-933F-4C10A1A62617}"/>
                </a:ext>
              </a:extLst>
            </p:cNvPr>
            <p:cNvSpPr/>
            <p:nvPr userDrawn="1"/>
          </p:nvSpPr>
          <p:spPr bwMode="auto">
            <a:xfrm>
              <a:off x="5676900" y="2798763"/>
              <a:ext cx="147638" cy="177800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3" name="íṥľïḓê">
              <a:extLst>
                <a:ext uri="{FF2B5EF4-FFF2-40B4-BE49-F238E27FC236}">
                  <a16:creationId xmlns:a16="http://schemas.microsoft.com/office/drawing/2014/main" id="{7070EA34-2784-4362-8DF0-EA6726DC0BD9}"/>
                </a:ext>
              </a:extLst>
            </p:cNvPr>
            <p:cNvSpPr/>
            <p:nvPr userDrawn="1"/>
          </p:nvSpPr>
          <p:spPr bwMode="auto">
            <a:xfrm>
              <a:off x="5707063" y="2803525"/>
              <a:ext cx="117475" cy="8096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4" name="íş1íḋê">
              <a:extLst>
                <a:ext uri="{FF2B5EF4-FFF2-40B4-BE49-F238E27FC236}">
                  <a16:creationId xmlns:a16="http://schemas.microsoft.com/office/drawing/2014/main" id="{491A23F2-4EB6-4B83-9630-37BEFCB7E628}"/>
                </a:ext>
              </a:extLst>
            </p:cNvPr>
            <p:cNvSpPr/>
            <p:nvPr userDrawn="1"/>
          </p:nvSpPr>
          <p:spPr bwMode="auto">
            <a:xfrm>
              <a:off x="6418263" y="2795588"/>
              <a:ext cx="214313" cy="287338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5" name="íṧḷíďè">
              <a:extLst>
                <a:ext uri="{FF2B5EF4-FFF2-40B4-BE49-F238E27FC236}">
                  <a16:creationId xmlns:a16="http://schemas.microsoft.com/office/drawing/2014/main" id="{322F4DD9-730D-4544-A7DE-3350831769B1}"/>
                </a:ext>
              </a:extLst>
            </p:cNvPr>
            <p:cNvSpPr/>
            <p:nvPr userDrawn="1"/>
          </p:nvSpPr>
          <p:spPr bwMode="auto">
            <a:xfrm>
              <a:off x="6418263" y="2865438"/>
              <a:ext cx="173038" cy="176213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6" name="ïşlíďe">
              <a:extLst>
                <a:ext uri="{FF2B5EF4-FFF2-40B4-BE49-F238E27FC236}">
                  <a16:creationId xmlns:a16="http://schemas.microsoft.com/office/drawing/2014/main" id="{1DB26175-BBC7-4751-8986-01AC218C0414}"/>
                </a:ext>
              </a:extLst>
            </p:cNvPr>
            <p:cNvSpPr/>
            <p:nvPr userDrawn="1"/>
          </p:nvSpPr>
          <p:spPr bwMode="auto">
            <a:xfrm>
              <a:off x="6434138" y="2873375"/>
              <a:ext cx="123825" cy="61913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7" name="íṧ1iḍé">
              <a:extLst>
                <a:ext uri="{FF2B5EF4-FFF2-40B4-BE49-F238E27FC236}">
                  <a16:creationId xmlns:a16="http://schemas.microsoft.com/office/drawing/2014/main" id="{39926ECE-6B6B-4858-B85D-CBDFEBE5E3E2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8" name="íSḷíḍé">
              <a:extLst>
                <a:ext uri="{FF2B5EF4-FFF2-40B4-BE49-F238E27FC236}">
                  <a16:creationId xmlns:a16="http://schemas.microsoft.com/office/drawing/2014/main" id="{543C7DE3-45FE-4694-A597-44516AF0D109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9" name="ï$lïďê">
              <a:extLst>
                <a:ext uri="{FF2B5EF4-FFF2-40B4-BE49-F238E27FC236}">
                  <a16:creationId xmlns:a16="http://schemas.microsoft.com/office/drawing/2014/main" id="{56903C60-43D1-41B4-A06B-5D4321B26180}"/>
                </a:ext>
              </a:extLst>
            </p:cNvPr>
            <p:cNvSpPr/>
            <p:nvPr userDrawn="1"/>
          </p:nvSpPr>
          <p:spPr bwMode="auto">
            <a:xfrm>
              <a:off x="6024563" y="3155950"/>
              <a:ext cx="176213" cy="88900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0" name="iṩlïḍe">
              <a:extLst>
                <a:ext uri="{FF2B5EF4-FFF2-40B4-BE49-F238E27FC236}">
                  <a16:creationId xmlns:a16="http://schemas.microsoft.com/office/drawing/2014/main" id="{58D298C8-779C-40AB-AEB2-79554B903AA5}"/>
                </a:ext>
              </a:extLst>
            </p:cNvPr>
            <p:cNvSpPr/>
            <p:nvPr userDrawn="1"/>
          </p:nvSpPr>
          <p:spPr bwMode="auto">
            <a:xfrm>
              <a:off x="5780088" y="2468563"/>
              <a:ext cx="723900" cy="784225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1" name="iš1íḓè">
              <a:extLst>
                <a:ext uri="{FF2B5EF4-FFF2-40B4-BE49-F238E27FC236}">
                  <a16:creationId xmlns:a16="http://schemas.microsoft.com/office/drawing/2014/main" id="{54D6F5CC-D071-4394-BC18-281B7DFF3181}"/>
                </a:ext>
              </a:extLst>
            </p:cNvPr>
            <p:cNvSpPr/>
            <p:nvPr userDrawn="1"/>
          </p:nvSpPr>
          <p:spPr bwMode="auto">
            <a:xfrm>
              <a:off x="5780088" y="2644775"/>
              <a:ext cx="4763" cy="103188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2" name="işļíḍê">
              <a:extLst>
                <a:ext uri="{FF2B5EF4-FFF2-40B4-BE49-F238E27FC236}">
                  <a16:creationId xmlns:a16="http://schemas.microsoft.com/office/drawing/2014/main" id="{3218969E-AA7B-40DC-8260-8CE831764568}"/>
                </a:ext>
              </a:extLst>
            </p:cNvPr>
            <p:cNvSpPr/>
            <p:nvPr userDrawn="1"/>
          </p:nvSpPr>
          <p:spPr bwMode="auto">
            <a:xfrm>
              <a:off x="5570538" y="2301875"/>
              <a:ext cx="1014413" cy="971550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3" name="ïṡļíḋe">
              <a:extLst>
                <a:ext uri="{FF2B5EF4-FFF2-40B4-BE49-F238E27FC236}">
                  <a16:creationId xmlns:a16="http://schemas.microsoft.com/office/drawing/2014/main" id="{C315C162-743C-4C8A-A730-B6F554292C8F}"/>
                </a:ext>
              </a:extLst>
            </p:cNvPr>
            <p:cNvSpPr/>
            <p:nvPr userDrawn="1"/>
          </p:nvSpPr>
          <p:spPr bwMode="auto">
            <a:xfrm>
              <a:off x="5676900" y="2189163"/>
              <a:ext cx="860425" cy="717550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4" name="işľiḍê">
              <a:extLst>
                <a:ext uri="{FF2B5EF4-FFF2-40B4-BE49-F238E27FC236}">
                  <a16:creationId xmlns:a16="http://schemas.microsoft.com/office/drawing/2014/main" id="{681D4D48-80AB-4D9A-81C9-D092F448528A}"/>
                </a:ext>
              </a:extLst>
            </p:cNvPr>
            <p:cNvSpPr/>
            <p:nvPr userDrawn="1"/>
          </p:nvSpPr>
          <p:spPr bwMode="auto">
            <a:xfrm>
              <a:off x="5411788" y="3370263"/>
              <a:ext cx="1390650" cy="784225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5" name="işḻíḍé">
              <a:extLst>
                <a:ext uri="{FF2B5EF4-FFF2-40B4-BE49-F238E27FC236}">
                  <a16:creationId xmlns:a16="http://schemas.microsoft.com/office/drawing/2014/main" id="{1ADB9D3C-96A2-46FB-A786-A013523138CA}"/>
                </a:ext>
              </a:extLst>
            </p:cNvPr>
            <p:cNvSpPr/>
            <p:nvPr userDrawn="1"/>
          </p:nvSpPr>
          <p:spPr bwMode="auto">
            <a:xfrm>
              <a:off x="5611813" y="3451225"/>
              <a:ext cx="1001713" cy="1181100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6" name="ïṣľïḓè">
              <a:extLst>
                <a:ext uri="{FF2B5EF4-FFF2-40B4-BE49-F238E27FC236}">
                  <a16:creationId xmlns:a16="http://schemas.microsoft.com/office/drawing/2014/main" id="{20762A78-0255-406C-BC46-61DC0D1674CB}"/>
                </a:ext>
              </a:extLst>
            </p:cNvPr>
            <p:cNvSpPr/>
            <p:nvPr userDrawn="1"/>
          </p:nvSpPr>
          <p:spPr bwMode="auto">
            <a:xfrm>
              <a:off x="5659438" y="3451225"/>
              <a:ext cx="906463" cy="1111250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7" name="îšlídè">
              <a:extLst>
                <a:ext uri="{FF2B5EF4-FFF2-40B4-BE49-F238E27FC236}">
                  <a16:creationId xmlns:a16="http://schemas.microsoft.com/office/drawing/2014/main" id="{26DA3A76-D916-4ACF-BB4B-09703FA851A3}"/>
                </a:ext>
              </a:extLst>
            </p:cNvPr>
            <p:cNvSpPr/>
            <p:nvPr userDrawn="1"/>
          </p:nvSpPr>
          <p:spPr bwMode="auto">
            <a:xfrm>
              <a:off x="5643563" y="2725738"/>
              <a:ext cx="908050" cy="588963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8" name="ïṩḷídé">
              <a:extLst>
                <a:ext uri="{FF2B5EF4-FFF2-40B4-BE49-F238E27FC236}">
                  <a16:creationId xmlns:a16="http://schemas.microsoft.com/office/drawing/2014/main" id="{A677A730-02C2-487B-8977-4809A9059ABE}"/>
                </a:ext>
              </a:extLst>
            </p:cNvPr>
            <p:cNvSpPr/>
            <p:nvPr userDrawn="1"/>
          </p:nvSpPr>
          <p:spPr bwMode="auto">
            <a:xfrm>
              <a:off x="5703888" y="2747963"/>
              <a:ext cx="792163" cy="515938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9" name="íŝliḓè">
              <a:extLst>
                <a:ext uri="{FF2B5EF4-FFF2-40B4-BE49-F238E27FC236}">
                  <a16:creationId xmlns:a16="http://schemas.microsoft.com/office/drawing/2014/main" id="{DD6D326A-2354-4C03-AB6B-49C16EF157C8}"/>
                </a:ext>
              </a:extLst>
            </p:cNvPr>
            <p:cNvSpPr/>
            <p:nvPr userDrawn="1"/>
          </p:nvSpPr>
          <p:spPr bwMode="auto">
            <a:xfrm>
              <a:off x="5508625" y="4651375"/>
              <a:ext cx="1171575" cy="274638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90" name="ïSľíḋê">
              <a:extLst>
                <a:ext uri="{FF2B5EF4-FFF2-40B4-BE49-F238E27FC236}">
                  <a16:creationId xmlns:a16="http://schemas.microsoft.com/office/drawing/2014/main" id="{40A34E5A-796D-4746-AB6A-658AAC78E751}"/>
                </a:ext>
              </a:extLst>
            </p:cNvPr>
            <p:cNvSpPr/>
            <p:nvPr userDrawn="1"/>
          </p:nvSpPr>
          <p:spPr bwMode="auto">
            <a:xfrm>
              <a:off x="5643563" y="4651375"/>
              <a:ext cx="896938" cy="69850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91" name="íšļiḑê">
              <a:extLst>
                <a:ext uri="{FF2B5EF4-FFF2-40B4-BE49-F238E27FC236}">
                  <a16:creationId xmlns:a16="http://schemas.microsoft.com/office/drawing/2014/main" id="{BF761B53-9819-4981-B06C-5F03C421569A}"/>
                </a:ext>
              </a:extLst>
            </p:cNvPr>
            <p:cNvSpPr/>
            <p:nvPr userDrawn="1"/>
          </p:nvSpPr>
          <p:spPr bwMode="auto">
            <a:xfrm>
              <a:off x="6035675" y="4926013"/>
              <a:ext cx="109538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92" name="îşļiḓè">
              <a:extLst>
                <a:ext uri="{FF2B5EF4-FFF2-40B4-BE49-F238E27FC236}">
                  <a16:creationId xmlns:a16="http://schemas.microsoft.com/office/drawing/2014/main" id="{75FEF938-8AAF-47B1-9CFA-F7B86EBBBE0C}"/>
                </a:ext>
              </a:extLst>
            </p:cNvPr>
            <p:cNvSpPr/>
            <p:nvPr userDrawn="1"/>
          </p:nvSpPr>
          <p:spPr bwMode="auto">
            <a:xfrm>
              <a:off x="5518150" y="4816475"/>
              <a:ext cx="1150938" cy="109538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93" name="ïṥḻïḋê">
              <a:extLst>
                <a:ext uri="{FF2B5EF4-FFF2-40B4-BE49-F238E27FC236}">
                  <a16:creationId xmlns:a16="http://schemas.microsoft.com/office/drawing/2014/main" id="{761C5328-12F1-4870-9D49-FC4F1FD7F95C}"/>
                </a:ext>
              </a:extLst>
            </p:cNvPr>
            <p:cNvSpPr/>
            <p:nvPr userDrawn="1"/>
          </p:nvSpPr>
          <p:spPr bwMode="auto">
            <a:xfrm>
              <a:off x="6005513" y="4116388"/>
              <a:ext cx="173038" cy="1495425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496" name="işḻíḓé">
              <a:extLst>
                <a:ext uri="{FF2B5EF4-FFF2-40B4-BE49-F238E27FC236}">
                  <a16:creationId xmlns:a16="http://schemas.microsoft.com/office/drawing/2014/main" id="{800FAB39-622F-44D6-8F88-A5A46160EC15}"/>
                </a:ext>
              </a:extLst>
            </p:cNvPr>
            <p:cNvSpPr/>
            <p:nvPr userDrawn="1"/>
          </p:nvSpPr>
          <p:spPr bwMode="auto">
            <a:xfrm>
              <a:off x="6030913" y="2868613"/>
              <a:ext cx="122238" cy="1270000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497" name="íṧḷidé">
              <a:extLst>
                <a:ext uri="{FF2B5EF4-FFF2-40B4-BE49-F238E27FC236}">
                  <a16:creationId xmlns:a16="http://schemas.microsoft.com/office/drawing/2014/main" id="{ABDDBA1D-771A-4AEA-A275-7714B58A5CDE}"/>
                </a:ext>
              </a:extLst>
            </p:cNvPr>
            <p:cNvSpPr/>
            <p:nvPr userDrawn="1"/>
          </p:nvSpPr>
          <p:spPr bwMode="auto">
            <a:xfrm>
              <a:off x="5383213" y="5600700"/>
              <a:ext cx="471488" cy="184150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498" name="i$ḷîde">
              <a:extLst>
                <a:ext uri="{FF2B5EF4-FFF2-40B4-BE49-F238E27FC236}">
                  <a16:creationId xmlns:a16="http://schemas.microsoft.com/office/drawing/2014/main" id="{9464BA44-5546-4BFF-81AB-C9EB3BBBDEC1}"/>
                </a:ext>
              </a:extLst>
            </p:cNvPr>
            <p:cNvSpPr/>
            <p:nvPr userDrawn="1"/>
          </p:nvSpPr>
          <p:spPr bwMode="auto">
            <a:xfrm>
              <a:off x="5268913" y="4138613"/>
              <a:ext cx="825500" cy="825500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499" name="ïşḻïḓe">
              <a:extLst>
                <a:ext uri="{FF2B5EF4-FFF2-40B4-BE49-F238E27FC236}">
                  <a16:creationId xmlns:a16="http://schemas.microsoft.com/office/drawing/2014/main" id="{1901A403-0731-4E76-92DF-03729A93EFB7}"/>
                </a:ext>
              </a:extLst>
            </p:cNvPr>
            <p:cNvSpPr/>
            <p:nvPr userDrawn="1"/>
          </p:nvSpPr>
          <p:spPr bwMode="auto">
            <a:xfrm>
              <a:off x="6119813" y="4138613"/>
              <a:ext cx="822325" cy="825500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500" name="iṩḻïdè">
              <a:extLst>
                <a:ext uri="{FF2B5EF4-FFF2-40B4-BE49-F238E27FC236}">
                  <a16:creationId xmlns:a16="http://schemas.microsoft.com/office/drawing/2014/main" id="{EF7DB912-9B49-41EB-B054-0F306C4A4812}"/>
                </a:ext>
              </a:extLst>
            </p:cNvPr>
            <p:cNvSpPr/>
            <p:nvPr userDrawn="1"/>
          </p:nvSpPr>
          <p:spPr bwMode="auto">
            <a:xfrm>
              <a:off x="5994400" y="5611813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501" name="íṧḻíḋe">
              <a:extLst>
                <a:ext uri="{FF2B5EF4-FFF2-40B4-BE49-F238E27FC236}">
                  <a16:creationId xmlns:a16="http://schemas.microsoft.com/office/drawing/2014/main" id="{33CCAEBA-612A-42AC-BA81-AE941F910FCA}"/>
                </a:ext>
              </a:extLst>
            </p:cNvPr>
            <p:cNvSpPr/>
            <p:nvPr userDrawn="1"/>
          </p:nvSpPr>
          <p:spPr bwMode="auto">
            <a:xfrm>
              <a:off x="5994400" y="4054475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502" name="ïş1ïḓê">
              <a:extLst>
                <a:ext uri="{FF2B5EF4-FFF2-40B4-BE49-F238E27FC236}">
                  <a16:creationId xmlns:a16="http://schemas.microsoft.com/office/drawing/2014/main" id="{5B972618-293F-4550-A1A5-6F1ADEBFF5CA}"/>
                </a:ext>
              </a:extLst>
            </p:cNvPr>
            <p:cNvSpPr/>
            <p:nvPr userDrawn="1"/>
          </p:nvSpPr>
          <p:spPr bwMode="auto">
            <a:xfrm>
              <a:off x="565943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503" name="iṥḷïdé">
              <a:extLst>
                <a:ext uri="{FF2B5EF4-FFF2-40B4-BE49-F238E27FC236}">
                  <a16:creationId xmlns:a16="http://schemas.microsoft.com/office/drawing/2014/main" id="{A33E5FAA-7EE3-4655-8B96-50B25FCD10FB}"/>
                </a:ext>
              </a:extLst>
            </p:cNvPr>
            <p:cNvSpPr/>
            <p:nvPr userDrawn="1"/>
          </p:nvSpPr>
          <p:spPr bwMode="auto">
            <a:xfrm>
              <a:off x="632618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504" name="îṩľîde">
              <a:extLst>
                <a:ext uri="{FF2B5EF4-FFF2-40B4-BE49-F238E27FC236}">
                  <a16:creationId xmlns:a16="http://schemas.microsoft.com/office/drawing/2014/main" id="{79DA4745-2D3A-467A-ADB1-48DE97A435A2}"/>
                </a:ext>
              </a:extLst>
            </p:cNvPr>
            <p:cNvSpPr/>
            <p:nvPr userDrawn="1"/>
          </p:nvSpPr>
          <p:spPr bwMode="auto">
            <a:xfrm>
              <a:off x="5788025" y="5600700"/>
              <a:ext cx="612775" cy="6985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487784" y="4225335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87784" y="3929064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487785" y="1189668"/>
            <a:ext cx="4470400" cy="2263775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30105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80377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矩形 208">
            <a:extLst>
              <a:ext uri="{FF2B5EF4-FFF2-40B4-BE49-F238E27FC236}">
                <a16:creationId xmlns:a16="http://schemas.microsoft.com/office/drawing/2014/main" id="{8C37FE3A-6A6F-4D83-8E68-1ACB1353CE3B}"/>
              </a:ext>
            </a:extLst>
          </p:cNvPr>
          <p:cNvSpPr/>
          <p:nvPr userDrawn="1"/>
        </p:nvSpPr>
        <p:spPr>
          <a:xfrm>
            <a:off x="0" y="3501445"/>
            <a:ext cx="12192000" cy="3364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10" name="组合 20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E61662C-3B31-49F7-B7A6-4C83CFB01F0B}"/>
              </a:ext>
            </a:extLst>
          </p:cNvPr>
          <p:cNvGrpSpPr/>
          <p:nvPr userDrawn="1"/>
        </p:nvGrpSpPr>
        <p:grpSpPr>
          <a:xfrm>
            <a:off x="2566182" y="1205559"/>
            <a:ext cx="3529818" cy="3435378"/>
            <a:chOff x="3660775" y="974725"/>
            <a:chExt cx="5043488" cy="4908550"/>
          </a:xfrm>
        </p:grpSpPr>
        <p:sp>
          <p:nvSpPr>
            <p:cNvPr id="211" name="îṣḷïde">
              <a:extLst>
                <a:ext uri="{FF2B5EF4-FFF2-40B4-BE49-F238E27FC236}">
                  <a16:creationId xmlns:a16="http://schemas.microsoft.com/office/drawing/2014/main" id="{9F815CED-9F4A-4838-B283-7E3090059E38}"/>
                </a:ext>
              </a:extLst>
            </p:cNvPr>
            <p:cNvSpPr/>
            <p:nvPr userDrawn="1"/>
          </p:nvSpPr>
          <p:spPr bwMode="auto">
            <a:xfrm>
              <a:off x="4000500" y="2686050"/>
              <a:ext cx="625475" cy="1471613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ïšḻíḍê">
              <a:extLst>
                <a:ext uri="{FF2B5EF4-FFF2-40B4-BE49-F238E27FC236}">
                  <a16:creationId xmlns:a16="http://schemas.microsoft.com/office/drawing/2014/main" id="{67DE7ED1-1B08-4F80-9FC2-6F89A9EE9CBF}"/>
                </a:ext>
              </a:extLst>
            </p:cNvPr>
            <p:cNvSpPr/>
            <p:nvPr userDrawn="1"/>
          </p:nvSpPr>
          <p:spPr bwMode="auto">
            <a:xfrm>
              <a:off x="4522788" y="2686050"/>
              <a:ext cx="103188" cy="246063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rgbClr val="B57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íšḷiḑe">
              <a:extLst>
                <a:ext uri="{FF2B5EF4-FFF2-40B4-BE49-F238E27FC236}">
                  <a16:creationId xmlns:a16="http://schemas.microsoft.com/office/drawing/2014/main" id="{7CE1EB59-FDFC-4B41-A456-22EA5FCC9CF9}"/>
                </a:ext>
              </a:extLst>
            </p:cNvPr>
            <p:cNvSpPr/>
            <p:nvPr userDrawn="1"/>
          </p:nvSpPr>
          <p:spPr bwMode="auto">
            <a:xfrm>
              <a:off x="6607175" y="1352550"/>
              <a:ext cx="1404938" cy="1403350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îṩ1iḑé">
              <a:extLst>
                <a:ext uri="{FF2B5EF4-FFF2-40B4-BE49-F238E27FC236}">
                  <a16:creationId xmlns:a16="http://schemas.microsoft.com/office/drawing/2014/main" id="{693233A4-2E2D-4FEC-981E-F5A43CDC2A0D}"/>
                </a:ext>
              </a:extLst>
            </p:cNvPr>
            <p:cNvSpPr/>
            <p:nvPr userDrawn="1"/>
          </p:nvSpPr>
          <p:spPr bwMode="auto">
            <a:xfrm>
              <a:off x="8085138" y="1735138"/>
              <a:ext cx="619125" cy="619125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ïṧ1îďê">
              <a:extLst>
                <a:ext uri="{FF2B5EF4-FFF2-40B4-BE49-F238E27FC236}">
                  <a16:creationId xmlns:a16="http://schemas.microsoft.com/office/drawing/2014/main" id="{82077191-990F-46EB-AC7D-3BD85432FB73}"/>
                </a:ext>
              </a:extLst>
            </p:cNvPr>
            <p:cNvSpPr/>
            <p:nvPr userDrawn="1"/>
          </p:nvSpPr>
          <p:spPr bwMode="auto">
            <a:xfrm>
              <a:off x="5824538" y="974725"/>
              <a:ext cx="914400" cy="911225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íşlïďê">
              <a:extLst>
                <a:ext uri="{FF2B5EF4-FFF2-40B4-BE49-F238E27FC236}">
                  <a16:creationId xmlns:a16="http://schemas.microsoft.com/office/drawing/2014/main" id="{C238C2D4-A315-4A67-AF83-E608C0C4D71E}"/>
                </a:ext>
              </a:extLst>
            </p:cNvPr>
            <p:cNvSpPr/>
            <p:nvPr userDrawn="1"/>
          </p:nvSpPr>
          <p:spPr bwMode="auto">
            <a:xfrm>
              <a:off x="3660775" y="4157663"/>
              <a:ext cx="4867275" cy="125413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íśḷïdè">
              <a:extLst>
                <a:ext uri="{FF2B5EF4-FFF2-40B4-BE49-F238E27FC236}">
                  <a16:creationId xmlns:a16="http://schemas.microsoft.com/office/drawing/2014/main" id="{FB21D5AA-DD86-4396-9505-2B9F47F0C2CC}"/>
                </a:ext>
              </a:extLst>
            </p:cNvPr>
            <p:cNvSpPr/>
            <p:nvPr userDrawn="1"/>
          </p:nvSpPr>
          <p:spPr bwMode="auto">
            <a:xfrm>
              <a:off x="3663950" y="4246563"/>
              <a:ext cx="4859338" cy="36513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îṥlïḋê">
              <a:extLst>
                <a:ext uri="{FF2B5EF4-FFF2-40B4-BE49-F238E27FC236}">
                  <a16:creationId xmlns:a16="http://schemas.microsoft.com/office/drawing/2014/main" id="{881A9875-ABC3-430C-8E2C-3A83041D85FA}"/>
                </a:ext>
              </a:extLst>
            </p:cNvPr>
            <p:cNvSpPr/>
            <p:nvPr userDrawn="1"/>
          </p:nvSpPr>
          <p:spPr bwMode="auto">
            <a:xfrm>
              <a:off x="5121275" y="4090988"/>
              <a:ext cx="1758950" cy="66675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îṣľíḑê">
              <a:extLst>
                <a:ext uri="{FF2B5EF4-FFF2-40B4-BE49-F238E27FC236}">
                  <a16:creationId xmlns:a16="http://schemas.microsoft.com/office/drawing/2014/main" id="{034FC554-C133-4260-ABC8-1DCA170091B6}"/>
                </a:ext>
              </a:extLst>
            </p:cNvPr>
            <p:cNvSpPr/>
            <p:nvPr userDrawn="1"/>
          </p:nvSpPr>
          <p:spPr bwMode="auto">
            <a:xfrm>
              <a:off x="5300663" y="4090988"/>
              <a:ext cx="1758950" cy="66675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iṩ1idè">
              <a:extLst>
                <a:ext uri="{FF2B5EF4-FFF2-40B4-BE49-F238E27FC236}">
                  <a16:creationId xmlns:a16="http://schemas.microsoft.com/office/drawing/2014/main" id="{135256E0-6AD7-489D-B654-3212BD3B17C6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762125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172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ï$1iďè">
              <a:extLst>
                <a:ext uri="{FF2B5EF4-FFF2-40B4-BE49-F238E27FC236}">
                  <a16:creationId xmlns:a16="http://schemas.microsoft.com/office/drawing/2014/main" id="{F6AA95AF-CFE7-468E-B732-26B1BD4D19EE}"/>
                </a:ext>
              </a:extLst>
            </p:cNvPr>
            <p:cNvSpPr/>
            <p:nvPr userDrawn="1"/>
          </p:nvSpPr>
          <p:spPr bwMode="auto">
            <a:xfrm>
              <a:off x="6083300" y="2189163"/>
              <a:ext cx="36513" cy="123190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ïŝḻïḓè">
              <a:extLst>
                <a:ext uri="{FF2B5EF4-FFF2-40B4-BE49-F238E27FC236}">
                  <a16:creationId xmlns:a16="http://schemas.microsoft.com/office/drawing/2014/main" id="{34614279-AE0A-42EB-BD13-292D920E2637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84150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íṧľîḑe">
              <a:extLst>
                <a:ext uri="{FF2B5EF4-FFF2-40B4-BE49-F238E27FC236}">
                  <a16:creationId xmlns:a16="http://schemas.microsoft.com/office/drawing/2014/main" id="{298945AC-65AD-4286-BA45-E7C81CABBA4A}"/>
                </a:ext>
              </a:extLst>
            </p:cNvPr>
            <p:cNvSpPr/>
            <p:nvPr userDrawn="1"/>
          </p:nvSpPr>
          <p:spPr bwMode="auto">
            <a:xfrm>
              <a:off x="6323013" y="2828925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ísļídè">
              <a:extLst>
                <a:ext uri="{FF2B5EF4-FFF2-40B4-BE49-F238E27FC236}">
                  <a16:creationId xmlns:a16="http://schemas.microsoft.com/office/drawing/2014/main" id="{29689A9A-61E9-4824-81B3-A2A002BA92BD}"/>
                </a:ext>
              </a:extLst>
            </p:cNvPr>
            <p:cNvSpPr/>
            <p:nvPr userDrawn="1"/>
          </p:nvSpPr>
          <p:spPr bwMode="auto">
            <a:xfrm>
              <a:off x="6323013" y="2957513"/>
              <a:ext cx="485775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îSlíḑè">
              <a:extLst>
                <a:ext uri="{FF2B5EF4-FFF2-40B4-BE49-F238E27FC236}">
                  <a16:creationId xmlns:a16="http://schemas.microsoft.com/office/drawing/2014/main" id="{B0B64C9E-6C96-4267-87EC-BA99FC6A8F1A}"/>
                </a:ext>
              </a:extLst>
            </p:cNvPr>
            <p:cNvSpPr/>
            <p:nvPr userDrawn="1"/>
          </p:nvSpPr>
          <p:spPr bwMode="auto">
            <a:xfrm>
              <a:off x="68580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ïslíďê">
              <a:extLst>
                <a:ext uri="{FF2B5EF4-FFF2-40B4-BE49-F238E27FC236}">
                  <a16:creationId xmlns:a16="http://schemas.microsoft.com/office/drawing/2014/main" id="{595D0915-7554-4636-B827-D4D6168C24E9}"/>
                </a:ext>
              </a:extLst>
            </p:cNvPr>
            <p:cNvSpPr/>
            <p:nvPr userDrawn="1"/>
          </p:nvSpPr>
          <p:spPr bwMode="auto">
            <a:xfrm>
              <a:off x="63230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íṥļïďé">
              <a:extLst>
                <a:ext uri="{FF2B5EF4-FFF2-40B4-BE49-F238E27FC236}">
                  <a16:creationId xmlns:a16="http://schemas.microsoft.com/office/drawing/2014/main" id="{528FE62F-C06E-494D-890A-E500CB0FA152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ïṧḻiďê">
              <a:extLst>
                <a:ext uri="{FF2B5EF4-FFF2-40B4-BE49-F238E27FC236}">
                  <a16:creationId xmlns:a16="http://schemas.microsoft.com/office/drawing/2014/main" id="{8B84DC9C-E176-480B-8065-BCFEF8896A50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îṩḻiḓê">
              <a:extLst>
                <a:ext uri="{FF2B5EF4-FFF2-40B4-BE49-F238E27FC236}">
                  <a16:creationId xmlns:a16="http://schemas.microsoft.com/office/drawing/2014/main" id="{C0870957-D403-4800-B4B0-C7C51FF56F3D}"/>
                </a:ext>
              </a:extLst>
            </p:cNvPr>
            <p:cNvSpPr/>
            <p:nvPr userDrawn="1"/>
          </p:nvSpPr>
          <p:spPr bwMode="auto">
            <a:xfrm>
              <a:off x="6802438" y="2828925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îŝ1îḍê">
              <a:extLst>
                <a:ext uri="{FF2B5EF4-FFF2-40B4-BE49-F238E27FC236}">
                  <a16:creationId xmlns:a16="http://schemas.microsoft.com/office/drawing/2014/main" id="{7A1C70C2-D69C-44C8-B8DC-90B30B3FDED9}"/>
                </a:ext>
              </a:extLst>
            </p:cNvPr>
            <p:cNvSpPr/>
            <p:nvPr userDrawn="1"/>
          </p:nvSpPr>
          <p:spPr bwMode="auto">
            <a:xfrm>
              <a:off x="6323013" y="2220913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iṩ1îďé">
              <a:extLst>
                <a:ext uri="{FF2B5EF4-FFF2-40B4-BE49-F238E27FC236}">
                  <a16:creationId xmlns:a16="http://schemas.microsoft.com/office/drawing/2014/main" id="{5B66572D-DFEB-44A8-BCB9-6D2A59AFB190}"/>
                </a:ext>
              </a:extLst>
            </p:cNvPr>
            <p:cNvSpPr/>
            <p:nvPr userDrawn="1"/>
          </p:nvSpPr>
          <p:spPr bwMode="auto">
            <a:xfrm>
              <a:off x="6323013" y="2351088"/>
              <a:ext cx="485775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iSḻíḍe">
              <a:extLst>
                <a:ext uri="{FF2B5EF4-FFF2-40B4-BE49-F238E27FC236}">
                  <a16:creationId xmlns:a16="http://schemas.microsoft.com/office/drawing/2014/main" id="{D984DE33-B66B-4605-B722-BDA90EFA2831}"/>
                </a:ext>
              </a:extLst>
            </p:cNvPr>
            <p:cNvSpPr/>
            <p:nvPr userDrawn="1"/>
          </p:nvSpPr>
          <p:spPr bwMode="auto">
            <a:xfrm>
              <a:off x="68580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íṥ1iḍè">
              <a:extLst>
                <a:ext uri="{FF2B5EF4-FFF2-40B4-BE49-F238E27FC236}">
                  <a16:creationId xmlns:a16="http://schemas.microsoft.com/office/drawing/2014/main" id="{F0B0A692-2AA2-49A8-8776-54DE8F97BD1C}"/>
                </a:ext>
              </a:extLst>
            </p:cNvPr>
            <p:cNvSpPr/>
            <p:nvPr userDrawn="1"/>
          </p:nvSpPr>
          <p:spPr bwMode="auto">
            <a:xfrm>
              <a:off x="63230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íṡ1íḓe">
              <a:extLst>
                <a:ext uri="{FF2B5EF4-FFF2-40B4-BE49-F238E27FC236}">
                  <a16:creationId xmlns:a16="http://schemas.microsoft.com/office/drawing/2014/main" id="{BEFC73D3-5675-4EB0-B738-8D4610EC0F81}"/>
                </a:ext>
              </a:extLst>
            </p:cNvPr>
            <p:cNvSpPr/>
            <p:nvPr userDrawn="1"/>
          </p:nvSpPr>
          <p:spPr bwMode="auto">
            <a:xfrm>
              <a:off x="6580188" y="2479675"/>
              <a:ext cx="71596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íŝľíḑe">
              <a:extLst>
                <a:ext uri="{FF2B5EF4-FFF2-40B4-BE49-F238E27FC236}">
                  <a16:creationId xmlns:a16="http://schemas.microsoft.com/office/drawing/2014/main" id="{97EFC203-7A3E-48BB-A2FD-D90A595525E0}"/>
                </a:ext>
              </a:extLst>
            </p:cNvPr>
            <p:cNvSpPr/>
            <p:nvPr userDrawn="1"/>
          </p:nvSpPr>
          <p:spPr bwMode="auto">
            <a:xfrm>
              <a:off x="6802438" y="2220913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ïṥ1îḓè">
              <a:extLst>
                <a:ext uri="{FF2B5EF4-FFF2-40B4-BE49-F238E27FC236}">
                  <a16:creationId xmlns:a16="http://schemas.microsoft.com/office/drawing/2014/main" id="{6B048252-4BA1-459A-8E21-21E8ABB24328}"/>
                </a:ext>
              </a:extLst>
            </p:cNvPr>
            <p:cNvSpPr/>
            <p:nvPr userDrawn="1"/>
          </p:nvSpPr>
          <p:spPr bwMode="auto">
            <a:xfrm>
              <a:off x="5002213" y="2828925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íṡḷidê">
              <a:extLst>
                <a:ext uri="{FF2B5EF4-FFF2-40B4-BE49-F238E27FC236}">
                  <a16:creationId xmlns:a16="http://schemas.microsoft.com/office/drawing/2014/main" id="{03A25EA9-7DDA-4805-9FEC-F058B82DA08B}"/>
                </a:ext>
              </a:extLst>
            </p:cNvPr>
            <p:cNvSpPr/>
            <p:nvPr userDrawn="1"/>
          </p:nvSpPr>
          <p:spPr bwMode="auto">
            <a:xfrm>
              <a:off x="5002213" y="2957513"/>
              <a:ext cx="484188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ïSḻïḑe">
              <a:extLst>
                <a:ext uri="{FF2B5EF4-FFF2-40B4-BE49-F238E27FC236}">
                  <a16:creationId xmlns:a16="http://schemas.microsoft.com/office/drawing/2014/main" id="{D9AA68E9-86CB-48C9-B761-014F222EFC4A}"/>
                </a:ext>
              </a:extLst>
            </p:cNvPr>
            <p:cNvSpPr/>
            <p:nvPr userDrawn="1"/>
          </p:nvSpPr>
          <p:spPr bwMode="auto">
            <a:xfrm>
              <a:off x="55372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ïŝlîḋe">
              <a:extLst>
                <a:ext uri="{FF2B5EF4-FFF2-40B4-BE49-F238E27FC236}">
                  <a16:creationId xmlns:a16="http://schemas.microsoft.com/office/drawing/2014/main" id="{DF610359-D451-47FC-B413-07CEFB9F9C35}"/>
                </a:ext>
              </a:extLst>
            </p:cNvPr>
            <p:cNvSpPr/>
            <p:nvPr userDrawn="1"/>
          </p:nvSpPr>
          <p:spPr bwMode="auto">
            <a:xfrm>
              <a:off x="50022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ïṣḷidè">
              <a:extLst>
                <a:ext uri="{FF2B5EF4-FFF2-40B4-BE49-F238E27FC236}">
                  <a16:creationId xmlns:a16="http://schemas.microsoft.com/office/drawing/2014/main" id="{86EE2074-5A4B-4337-8775-5260608E4AE3}"/>
                </a:ext>
              </a:extLst>
            </p:cNvPr>
            <p:cNvSpPr/>
            <p:nvPr userDrawn="1"/>
          </p:nvSpPr>
          <p:spPr bwMode="auto">
            <a:xfrm>
              <a:off x="5260975" y="3086100"/>
              <a:ext cx="711200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íṧľîḓê">
              <a:extLst>
                <a:ext uri="{FF2B5EF4-FFF2-40B4-BE49-F238E27FC236}">
                  <a16:creationId xmlns:a16="http://schemas.microsoft.com/office/drawing/2014/main" id="{6EC69D07-7976-4CBC-A4D7-08893777C416}"/>
                </a:ext>
              </a:extLst>
            </p:cNvPr>
            <p:cNvSpPr/>
            <p:nvPr userDrawn="1"/>
          </p:nvSpPr>
          <p:spPr bwMode="auto">
            <a:xfrm>
              <a:off x="5481638" y="2828925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ïšḷîḓe">
              <a:extLst>
                <a:ext uri="{FF2B5EF4-FFF2-40B4-BE49-F238E27FC236}">
                  <a16:creationId xmlns:a16="http://schemas.microsoft.com/office/drawing/2014/main" id="{E2772D90-51F0-4204-B851-A02DEE86D856}"/>
                </a:ext>
              </a:extLst>
            </p:cNvPr>
            <p:cNvSpPr/>
            <p:nvPr userDrawn="1"/>
          </p:nvSpPr>
          <p:spPr bwMode="auto">
            <a:xfrm>
              <a:off x="5002213" y="2220913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îśliḍé">
              <a:extLst>
                <a:ext uri="{FF2B5EF4-FFF2-40B4-BE49-F238E27FC236}">
                  <a16:creationId xmlns:a16="http://schemas.microsoft.com/office/drawing/2014/main" id="{44D1F172-0703-47BB-83D1-B7A21C244CE8}"/>
                </a:ext>
              </a:extLst>
            </p:cNvPr>
            <p:cNvSpPr/>
            <p:nvPr userDrawn="1"/>
          </p:nvSpPr>
          <p:spPr bwMode="auto">
            <a:xfrm>
              <a:off x="5002213" y="2351088"/>
              <a:ext cx="484188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iṥ1iḍê">
              <a:extLst>
                <a:ext uri="{FF2B5EF4-FFF2-40B4-BE49-F238E27FC236}">
                  <a16:creationId xmlns:a16="http://schemas.microsoft.com/office/drawing/2014/main" id="{C1846154-6A09-41D4-A7EF-0CB356236893}"/>
                </a:ext>
              </a:extLst>
            </p:cNvPr>
            <p:cNvSpPr/>
            <p:nvPr userDrawn="1"/>
          </p:nvSpPr>
          <p:spPr bwMode="auto">
            <a:xfrm>
              <a:off x="55372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ïSlïḑe">
              <a:extLst>
                <a:ext uri="{FF2B5EF4-FFF2-40B4-BE49-F238E27FC236}">
                  <a16:creationId xmlns:a16="http://schemas.microsoft.com/office/drawing/2014/main" id="{9128667E-8000-48E0-BD9C-7C3A79C24791}"/>
                </a:ext>
              </a:extLst>
            </p:cNvPr>
            <p:cNvSpPr/>
            <p:nvPr userDrawn="1"/>
          </p:nvSpPr>
          <p:spPr bwMode="auto">
            <a:xfrm>
              <a:off x="50022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ïśľîďe">
              <a:extLst>
                <a:ext uri="{FF2B5EF4-FFF2-40B4-BE49-F238E27FC236}">
                  <a16:creationId xmlns:a16="http://schemas.microsoft.com/office/drawing/2014/main" id="{951096FD-1D28-4525-A0BE-386E83D0C537}"/>
                </a:ext>
              </a:extLst>
            </p:cNvPr>
            <p:cNvSpPr/>
            <p:nvPr userDrawn="1"/>
          </p:nvSpPr>
          <p:spPr bwMode="auto">
            <a:xfrm>
              <a:off x="5260975" y="2479675"/>
              <a:ext cx="711200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îṡľiďé">
              <a:extLst>
                <a:ext uri="{FF2B5EF4-FFF2-40B4-BE49-F238E27FC236}">
                  <a16:creationId xmlns:a16="http://schemas.microsoft.com/office/drawing/2014/main" id="{170BF2D8-5469-447F-AFAD-C77832D6C9D9}"/>
                </a:ext>
              </a:extLst>
            </p:cNvPr>
            <p:cNvSpPr/>
            <p:nvPr userDrawn="1"/>
          </p:nvSpPr>
          <p:spPr bwMode="auto">
            <a:xfrm>
              <a:off x="5481638" y="2220913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ís1iḋê">
              <a:extLst>
                <a:ext uri="{FF2B5EF4-FFF2-40B4-BE49-F238E27FC236}">
                  <a16:creationId xmlns:a16="http://schemas.microsoft.com/office/drawing/2014/main" id="{EA9A0FDE-4252-4FEC-9150-2157D1EEEDE9}"/>
                </a:ext>
              </a:extLst>
            </p:cNvPr>
            <p:cNvSpPr/>
            <p:nvPr userDrawn="1"/>
          </p:nvSpPr>
          <p:spPr bwMode="auto">
            <a:xfrm>
              <a:off x="4625975" y="1865313"/>
              <a:ext cx="2946400" cy="1879600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ïš1idè">
              <a:extLst>
                <a:ext uri="{FF2B5EF4-FFF2-40B4-BE49-F238E27FC236}">
                  <a16:creationId xmlns:a16="http://schemas.microsoft.com/office/drawing/2014/main" id="{218FF8F3-475B-49BC-BBE5-70957A769500}"/>
                </a:ext>
              </a:extLst>
            </p:cNvPr>
            <p:cNvSpPr/>
            <p:nvPr userDrawn="1"/>
          </p:nvSpPr>
          <p:spPr bwMode="auto">
            <a:xfrm>
              <a:off x="6919913" y="3152775"/>
              <a:ext cx="409575" cy="212725"/>
            </a:xfrm>
            <a:custGeom>
              <a:avLst/>
              <a:gdLst>
                <a:gd name="T0" fmla="*/ 2 w 111"/>
                <a:gd name="T1" fmla="*/ 37 h 58"/>
                <a:gd name="T2" fmla="*/ 2 w 111"/>
                <a:gd name="T3" fmla="*/ 41 h 58"/>
                <a:gd name="T4" fmla="*/ 0 w 111"/>
                <a:gd name="T5" fmla="*/ 58 h 58"/>
                <a:gd name="T6" fmla="*/ 24 w 111"/>
                <a:gd name="T7" fmla="*/ 58 h 58"/>
                <a:gd name="T8" fmla="*/ 2 w 111"/>
                <a:gd name="T9" fmla="*/ 37 h 58"/>
                <a:gd name="T10" fmla="*/ 69 w 111"/>
                <a:gd name="T11" fmla="*/ 0 h 58"/>
                <a:gd name="T12" fmla="*/ 41 w 111"/>
                <a:gd name="T13" fmla="*/ 0 h 58"/>
                <a:gd name="T14" fmla="*/ 39 w 111"/>
                <a:gd name="T15" fmla="*/ 1 h 58"/>
                <a:gd name="T16" fmla="*/ 36 w 111"/>
                <a:gd name="T17" fmla="*/ 2 h 58"/>
                <a:gd name="T18" fmla="*/ 77 w 111"/>
                <a:gd name="T19" fmla="*/ 40 h 58"/>
                <a:gd name="T20" fmla="*/ 73 w 111"/>
                <a:gd name="T21" fmla="*/ 58 h 58"/>
                <a:gd name="T22" fmla="*/ 110 w 111"/>
                <a:gd name="T23" fmla="*/ 58 h 58"/>
                <a:gd name="T24" fmla="*/ 92 w 111"/>
                <a:gd name="T25" fmla="*/ 13 h 58"/>
                <a:gd name="T26" fmla="*/ 92 w 111"/>
                <a:gd name="T27" fmla="*/ 13 h 58"/>
                <a:gd name="T28" fmla="*/ 69 w 111"/>
                <a:gd name="T2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58">
                  <a:moveTo>
                    <a:pt x="2" y="37"/>
                  </a:moveTo>
                  <a:cubicBezTo>
                    <a:pt x="2" y="41"/>
                    <a:pt x="2" y="41"/>
                    <a:pt x="2" y="41"/>
                  </a:cubicBezTo>
                  <a:cubicBezTo>
                    <a:pt x="0" y="46"/>
                    <a:pt x="0" y="52"/>
                    <a:pt x="0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" y="37"/>
                    <a:pt x="2" y="37"/>
                    <a:pt x="2" y="37"/>
                  </a:cubicBezTo>
                  <a:moveTo>
                    <a:pt x="69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39" y="0"/>
                    <a:pt x="39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11" y="41"/>
                    <a:pt x="105" y="24"/>
                    <a:pt x="92" y="13"/>
                  </a:cubicBezTo>
                  <a:cubicBezTo>
                    <a:pt x="92" y="13"/>
                    <a:pt x="92" y="13"/>
                    <a:pt x="92" y="13"/>
                  </a:cubicBezTo>
                  <a:cubicBezTo>
                    <a:pt x="86" y="7"/>
                    <a:pt x="78" y="2"/>
                    <a:pt x="69" y="0"/>
                  </a:cubicBezTo>
                </a:path>
              </a:pathLst>
            </a:custGeom>
            <a:solidFill>
              <a:srgbClr val="1327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iSľíḑé">
              <a:extLst>
                <a:ext uri="{FF2B5EF4-FFF2-40B4-BE49-F238E27FC236}">
                  <a16:creationId xmlns:a16="http://schemas.microsoft.com/office/drawing/2014/main" id="{6DBF8FCE-4C76-4049-971D-EADCFACCF652}"/>
                </a:ext>
              </a:extLst>
            </p:cNvPr>
            <p:cNvSpPr/>
            <p:nvPr userDrawn="1"/>
          </p:nvSpPr>
          <p:spPr bwMode="auto">
            <a:xfrm>
              <a:off x="7070725" y="3144838"/>
              <a:ext cx="103188" cy="7938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îslîďè">
              <a:extLst>
                <a:ext uri="{FF2B5EF4-FFF2-40B4-BE49-F238E27FC236}">
                  <a16:creationId xmlns:a16="http://schemas.microsoft.com/office/drawing/2014/main" id="{B83FFC27-5F09-4196-80BF-7A724DEBA8DE}"/>
                </a:ext>
              </a:extLst>
            </p:cNvPr>
            <p:cNvSpPr/>
            <p:nvPr userDrawn="1"/>
          </p:nvSpPr>
          <p:spPr bwMode="auto">
            <a:xfrm>
              <a:off x="6919913" y="3365500"/>
              <a:ext cx="630238" cy="373063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îSľiḑe">
              <a:extLst>
                <a:ext uri="{FF2B5EF4-FFF2-40B4-BE49-F238E27FC236}">
                  <a16:creationId xmlns:a16="http://schemas.microsoft.com/office/drawing/2014/main" id="{8107D903-1D25-48EF-8568-1D05CA595CBE}"/>
                </a:ext>
              </a:extLst>
            </p:cNvPr>
            <p:cNvSpPr/>
            <p:nvPr userDrawn="1"/>
          </p:nvSpPr>
          <p:spPr bwMode="auto">
            <a:xfrm>
              <a:off x="4748213" y="1952625"/>
              <a:ext cx="2706688" cy="111125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íSļíḓè">
              <a:extLst>
                <a:ext uri="{FF2B5EF4-FFF2-40B4-BE49-F238E27FC236}">
                  <a16:creationId xmlns:a16="http://schemas.microsoft.com/office/drawing/2014/main" id="{07D4F4CD-7559-4DD8-9AA1-FC0E49095616}"/>
                </a:ext>
              </a:extLst>
            </p:cNvPr>
            <p:cNvSpPr/>
            <p:nvPr userDrawn="1"/>
          </p:nvSpPr>
          <p:spPr bwMode="auto">
            <a:xfrm>
              <a:off x="4625975" y="3521075"/>
              <a:ext cx="2946400" cy="223838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ïṧḻídé">
              <a:extLst>
                <a:ext uri="{FF2B5EF4-FFF2-40B4-BE49-F238E27FC236}">
                  <a16:creationId xmlns:a16="http://schemas.microsoft.com/office/drawing/2014/main" id="{6B3E522A-87EC-47CB-B706-8551808E4479}"/>
                </a:ext>
              </a:extLst>
            </p:cNvPr>
            <p:cNvSpPr/>
            <p:nvPr userDrawn="1"/>
          </p:nvSpPr>
          <p:spPr bwMode="auto">
            <a:xfrm>
              <a:off x="7265988" y="2019300"/>
              <a:ext cx="60325" cy="58738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iṧlïḋê">
              <a:extLst>
                <a:ext uri="{FF2B5EF4-FFF2-40B4-BE49-F238E27FC236}">
                  <a16:creationId xmlns:a16="http://schemas.microsoft.com/office/drawing/2014/main" id="{FD7F2B50-0576-4B48-BD67-409BDF61A3B4}"/>
                </a:ext>
              </a:extLst>
            </p:cNvPr>
            <p:cNvSpPr/>
            <p:nvPr userDrawn="1"/>
          </p:nvSpPr>
          <p:spPr bwMode="auto">
            <a:xfrm>
              <a:off x="7162800" y="2019300"/>
              <a:ext cx="60325" cy="58738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ïSḷîḍê">
              <a:extLst>
                <a:ext uri="{FF2B5EF4-FFF2-40B4-BE49-F238E27FC236}">
                  <a16:creationId xmlns:a16="http://schemas.microsoft.com/office/drawing/2014/main" id="{0A250E1E-80BB-4887-BF8C-BCF42B27425D}"/>
                </a:ext>
              </a:extLst>
            </p:cNvPr>
            <p:cNvSpPr/>
            <p:nvPr userDrawn="1"/>
          </p:nvSpPr>
          <p:spPr bwMode="auto">
            <a:xfrm>
              <a:off x="7059613" y="2019300"/>
              <a:ext cx="60325" cy="58738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íşlîḍe">
              <a:extLst>
                <a:ext uri="{FF2B5EF4-FFF2-40B4-BE49-F238E27FC236}">
                  <a16:creationId xmlns:a16="http://schemas.microsoft.com/office/drawing/2014/main" id="{BF9DF52F-9D83-4851-96C1-B1756C6635CA}"/>
                </a:ext>
              </a:extLst>
            </p:cNvPr>
            <p:cNvSpPr/>
            <p:nvPr userDrawn="1"/>
          </p:nvSpPr>
          <p:spPr bwMode="auto">
            <a:xfrm>
              <a:off x="4438650" y="2619375"/>
              <a:ext cx="741363" cy="1538288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îṧliḓe">
              <a:extLst>
                <a:ext uri="{FF2B5EF4-FFF2-40B4-BE49-F238E27FC236}">
                  <a16:creationId xmlns:a16="http://schemas.microsoft.com/office/drawing/2014/main" id="{9DE8548E-3E05-4B67-927D-31DC785333E5}"/>
                </a:ext>
              </a:extLst>
            </p:cNvPr>
            <p:cNvSpPr/>
            <p:nvPr userDrawn="1"/>
          </p:nvSpPr>
          <p:spPr bwMode="auto">
            <a:xfrm>
              <a:off x="4545013" y="2887663"/>
              <a:ext cx="457200" cy="95250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ïšľïḍê">
              <a:extLst>
                <a:ext uri="{FF2B5EF4-FFF2-40B4-BE49-F238E27FC236}">
                  <a16:creationId xmlns:a16="http://schemas.microsoft.com/office/drawing/2014/main" id="{9DDB46BA-311A-4A6B-957B-4EC8F71B0C47}"/>
                </a:ext>
              </a:extLst>
            </p:cNvPr>
            <p:cNvSpPr/>
            <p:nvPr userDrawn="1"/>
          </p:nvSpPr>
          <p:spPr bwMode="auto">
            <a:xfrm>
              <a:off x="4419600" y="3225800"/>
              <a:ext cx="454025" cy="96838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ïṡ1îḍe">
              <a:extLst>
                <a:ext uri="{FF2B5EF4-FFF2-40B4-BE49-F238E27FC236}">
                  <a16:creationId xmlns:a16="http://schemas.microsoft.com/office/drawing/2014/main" id="{2B840719-EFA3-4C12-8F06-BF63030F9294}"/>
                </a:ext>
              </a:extLst>
            </p:cNvPr>
            <p:cNvSpPr/>
            <p:nvPr userDrawn="1"/>
          </p:nvSpPr>
          <p:spPr bwMode="auto">
            <a:xfrm>
              <a:off x="4271963" y="3565525"/>
              <a:ext cx="465138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iṧḷídè">
              <a:extLst>
                <a:ext uri="{FF2B5EF4-FFF2-40B4-BE49-F238E27FC236}">
                  <a16:creationId xmlns:a16="http://schemas.microsoft.com/office/drawing/2014/main" id="{B11A465F-18FD-41B1-BBE5-D466DE4FBADA}"/>
                </a:ext>
              </a:extLst>
            </p:cNvPr>
            <p:cNvSpPr/>
            <p:nvPr userDrawn="1"/>
          </p:nvSpPr>
          <p:spPr bwMode="auto">
            <a:xfrm>
              <a:off x="4137025" y="3903663"/>
              <a:ext cx="449263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íṥļïďê">
              <a:extLst>
                <a:ext uri="{FF2B5EF4-FFF2-40B4-BE49-F238E27FC236}">
                  <a16:creationId xmlns:a16="http://schemas.microsoft.com/office/drawing/2014/main" id="{A5D40688-4178-488D-A401-C63E9F9901D1}"/>
                </a:ext>
              </a:extLst>
            </p:cNvPr>
            <p:cNvSpPr/>
            <p:nvPr userDrawn="1"/>
          </p:nvSpPr>
          <p:spPr bwMode="auto">
            <a:xfrm>
              <a:off x="6978650" y="2998788"/>
              <a:ext cx="919163" cy="116998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iṡlîḑe">
              <a:extLst>
                <a:ext uri="{FF2B5EF4-FFF2-40B4-BE49-F238E27FC236}">
                  <a16:creationId xmlns:a16="http://schemas.microsoft.com/office/drawing/2014/main" id="{2CF9FD8F-7AB9-4413-BA6D-0AEC3AAA703B}"/>
                </a:ext>
              </a:extLst>
            </p:cNvPr>
            <p:cNvSpPr/>
            <p:nvPr userDrawn="1"/>
          </p:nvSpPr>
          <p:spPr bwMode="auto">
            <a:xfrm>
              <a:off x="7304088" y="3384550"/>
              <a:ext cx="515938" cy="692150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îşļïďê">
              <a:extLst>
                <a:ext uri="{FF2B5EF4-FFF2-40B4-BE49-F238E27FC236}">
                  <a16:creationId xmlns:a16="http://schemas.microsoft.com/office/drawing/2014/main" id="{0A260C92-F3B0-4023-85C8-AE243717C868}"/>
                </a:ext>
              </a:extLst>
            </p:cNvPr>
            <p:cNvSpPr/>
            <p:nvPr userDrawn="1"/>
          </p:nvSpPr>
          <p:spPr bwMode="auto">
            <a:xfrm>
              <a:off x="5035550" y="5718175"/>
              <a:ext cx="2116138" cy="165100"/>
            </a:xfrm>
            <a:custGeom>
              <a:avLst/>
              <a:gdLst>
                <a:gd name="T0" fmla="*/ 552 w 574"/>
                <a:gd name="T1" fmla="*/ 45 h 45"/>
                <a:gd name="T2" fmla="*/ 22 w 574"/>
                <a:gd name="T3" fmla="*/ 45 h 45"/>
                <a:gd name="T4" fmla="*/ 0 w 574"/>
                <a:gd name="T5" fmla="*/ 22 h 45"/>
                <a:gd name="T6" fmla="*/ 22 w 574"/>
                <a:gd name="T7" fmla="*/ 0 h 45"/>
                <a:gd name="T8" fmla="*/ 552 w 574"/>
                <a:gd name="T9" fmla="*/ 0 h 45"/>
                <a:gd name="T10" fmla="*/ 574 w 574"/>
                <a:gd name="T11" fmla="*/ 22 h 45"/>
                <a:gd name="T12" fmla="*/ 552 w 574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4" h="45">
                  <a:moveTo>
                    <a:pt x="552" y="45"/>
                  </a:moveTo>
                  <a:cubicBezTo>
                    <a:pt x="22" y="45"/>
                    <a:pt x="22" y="45"/>
                    <a:pt x="22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552" y="0"/>
                    <a:pt x="552" y="0"/>
                    <a:pt x="552" y="0"/>
                  </a:cubicBezTo>
                  <a:cubicBezTo>
                    <a:pt x="564" y="0"/>
                    <a:pt x="574" y="10"/>
                    <a:pt x="574" y="22"/>
                  </a:cubicBezTo>
                  <a:cubicBezTo>
                    <a:pt x="574" y="35"/>
                    <a:pt x="564" y="45"/>
                    <a:pt x="552" y="45"/>
                  </a:cubicBezTo>
                  <a:close/>
                </a:path>
              </a:pathLst>
            </a:cu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îšļiḍé">
              <a:extLst>
                <a:ext uri="{FF2B5EF4-FFF2-40B4-BE49-F238E27FC236}">
                  <a16:creationId xmlns:a16="http://schemas.microsoft.com/office/drawing/2014/main" id="{8C93FE08-C1DB-4C63-A6F7-045825FBC507}"/>
                </a:ext>
              </a:extLst>
            </p:cNvPr>
            <p:cNvSpPr/>
            <p:nvPr userDrawn="1"/>
          </p:nvSpPr>
          <p:spPr bwMode="auto">
            <a:xfrm>
              <a:off x="6083300" y="4378325"/>
              <a:ext cx="755650" cy="1222375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í$ḷïḑe">
              <a:extLst>
                <a:ext uri="{FF2B5EF4-FFF2-40B4-BE49-F238E27FC236}">
                  <a16:creationId xmlns:a16="http://schemas.microsoft.com/office/drawing/2014/main" id="{268228F1-6F0B-4E91-AE44-C2016832ECA0}"/>
                </a:ext>
              </a:extLst>
            </p:cNvPr>
            <p:cNvSpPr/>
            <p:nvPr userDrawn="1"/>
          </p:nvSpPr>
          <p:spPr bwMode="auto">
            <a:xfrm>
              <a:off x="6334125" y="5600700"/>
              <a:ext cx="474663" cy="184150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ís1îḓe">
              <a:extLst>
                <a:ext uri="{FF2B5EF4-FFF2-40B4-BE49-F238E27FC236}">
                  <a16:creationId xmlns:a16="http://schemas.microsoft.com/office/drawing/2014/main" id="{1397C844-D6C2-4182-B960-D55C92040818}"/>
                </a:ext>
              </a:extLst>
            </p:cNvPr>
            <p:cNvSpPr/>
            <p:nvPr userDrawn="1"/>
          </p:nvSpPr>
          <p:spPr bwMode="auto">
            <a:xfrm>
              <a:off x="5353050" y="4378325"/>
              <a:ext cx="755650" cy="1222375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îsḷïdè">
              <a:extLst>
                <a:ext uri="{FF2B5EF4-FFF2-40B4-BE49-F238E27FC236}">
                  <a16:creationId xmlns:a16="http://schemas.microsoft.com/office/drawing/2014/main" id="{C1840427-BBE8-46E9-9A0F-1A164B34FF92}"/>
                </a:ext>
              </a:extLst>
            </p:cNvPr>
            <p:cNvSpPr/>
            <p:nvPr userDrawn="1"/>
          </p:nvSpPr>
          <p:spPr bwMode="auto">
            <a:xfrm>
              <a:off x="6083300" y="4651375"/>
              <a:ext cx="611188" cy="949325"/>
            </a:xfrm>
            <a:custGeom>
              <a:avLst/>
              <a:gdLst>
                <a:gd name="T0" fmla="*/ 112 w 166"/>
                <a:gd name="T1" fmla="*/ 258 h 258"/>
                <a:gd name="T2" fmla="*/ 113 w 166"/>
                <a:gd name="T3" fmla="*/ 255 h 258"/>
                <a:gd name="T4" fmla="*/ 137 w 166"/>
                <a:gd name="T5" fmla="*/ 130 h 258"/>
                <a:gd name="T6" fmla="*/ 160 w 166"/>
                <a:gd name="T7" fmla="*/ 37 h 258"/>
                <a:gd name="T8" fmla="*/ 164 w 166"/>
                <a:gd name="T9" fmla="*/ 18 h 258"/>
                <a:gd name="T10" fmla="*/ 164 w 166"/>
                <a:gd name="T11" fmla="*/ 12 h 258"/>
                <a:gd name="T12" fmla="*/ 165 w 166"/>
                <a:gd name="T13" fmla="*/ 2 h 258"/>
                <a:gd name="T14" fmla="*/ 166 w 166"/>
                <a:gd name="T15" fmla="*/ 0 h 258"/>
                <a:gd name="T16" fmla="*/ 0 w 166"/>
                <a:gd name="T17" fmla="*/ 0 h 258"/>
                <a:gd name="T18" fmla="*/ 0 w 166"/>
                <a:gd name="T19" fmla="*/ 28 h 258"/>
                <a:gd name="T20" fmla="*/ 104 w 166"/>
                <a:gd name="T21" fmla="*/ 28 h 258"/>
                <a:gd name="T22" fmla="*/ 68 w 166"/>
                <a:gd name="T23" fmla="*/ 258 h 258"/>
                <a:gd name="T24" fmla="*/ 112 w 166"/>
                <a:gd name="T25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258">
                  <a:moveTo>
                    <a:pt x="112" y="258"/>
                  </a:moveTo>
                  <a:cubicBezTo>
                    <a:pt x="112" y="257"/>
                    <a:pt x="112" y="256"/>
                    <a:pt x="113" y="255"/>
                  </a:cubicBezTo>
                  <a:cubicBezTo>
                    <a:pt x="121" y="227"/>
                    <a:pt x="129" y="159"/>
                    <a:pt x="137" y="130"/>
                  </a:cubicBezTo>
                  <a:cubicBezTo>
                    <a:pt x="146" y="99"/>
                    <a:pt x="154" y="69"/>
                    <a:pt x="160" y="37"/>
                  </a:cubicBezTo>
                  <a:cubicBezTo>
                    <a:pt x="161" y="31"/>
                    <a:pt x="162" y="24"/>
                    <a:pt x="164" y="18"/>
                  </a:cubicBezTo>
                  <a:cubicBezTo>
                    <a:pt x="164" y="15"/>
                    <a:pt x="164" y="13"/>
                    <a:pt x="164" y="12"/>
                  </a:cubicBezTo>
                  <a:cubicBezTo>
                    <a:pt x="165" y="9"/>
                    <a:pt x="165" y="5"/>
                    <a:pt x="165" y="2"/>
                  </a:cubicBezTo>
                  <a:cubicBezTo>
                    <a:pt x="166" y="1"/>
                    <a:pt x="166" y="1"/>
                    <a:pt x="16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68" y="258"/>
                    <a:pt x="68" y="258"/>
                    <a:pt x="68" y="258"/>
                  </a:cubicBezTo>
                  <a:cubicBezTo>
                    <a:pt x="112" y="258"/>
                    <a:pt x="112" y="258"/>
                    <a:pt x="112" y="258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işḷíďe">
              <a:extLst>
                <a:ext uri="{FF2B5EF4-FFF2-40B4-BE49-F238E27FC236}">
                  <a16:creationId xmlns:a16="http://schemas.microsoft.com/office/drawing/2014/main" id="{DF7F48BD-91E0-490D-B049-E7838B62C56D}"/>
                </a:ext>
              </a:extLst>
            </p:cNvPr>
            <p:cNvSpPr/>
            <p:nvPr userDrawn="1"/>
          </p:nvSpPr>
          <p:spPr bwMode="auto">
            <a:xfrm>
              <a:off x="5518150" y="4651375"/>
              <a:ext cx="590550" cy="949325"/>
            </a:xfrm>
            <a:custGeom>
              <a:avLst/>
              <a:gdLst>
                <a:gd name="T0" fmla="*/ 160 w 160"/>
                <a:gd name="T1" fmla="*/ 0 h 258"/>
                <a:gd name="T2" fmla="*/ 0 w 160"/>
                <a:gd name="T3" fmla="*/ 0 h 258"/>
                <a:gd name="T4" fmla="*/ 2 w 160"/>
                <a:gd name="T5" fmla="*/ 9 h 258"/>
                <a:gd name="T6" fmla="*/ 28 w 160"/>
                <a:gd name="T7" fmla="*/ 91 h 258"/>
                <a:gd name="T8" fmla="*/ 52 w 160"/>
                <a:gd name="T9" fmla="*/ 171 h 258"/>
                <a:gd name="T10" fmla="*/ 63 w 160"/>
                <a:gd name="T11" fmla="*/ 258 h 258"/>
                <a:gd name="T12" fmla="*/ 91 w 160"/>
                <a:gd name="T13" fmla="*/ 258 h 258"/>
                <a:gd name="T14" fmla="*/ 55 w 160"/>
                <a:gd name="T15" fmla="*/ 28 h 258"/>
                <a:gd name="T16" fmla="*/ 160 w 160"/>
                <a:gd name="T17" fmla="*/ 28 h 258"/>
                <a:gd name="T18" fmla="*/ 160 w 160"/>
                <a:gd name="T19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258">
                  <a:moveTo>
                    <a:pt x="16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6"/>
                    <a:pt x="2" y="9"/>
                  </a:cubicBezTo>
                  <a:cubicBezTo>
                    <a:pt x="9" y="37"/>
                    <a:pt x="19" y="64"/>
                    <a:pt x="28" y="91"/>
                  </a:cubicBezTo>
                  <a:cubicBezTo>
                    <a:pt x="36" y="117"/>
                    <a:pt x="46" y="144"/>
                    <a:pt x="52" y="171"/>
                  </a:cubicBezTo>
                  <a:cubicBezTo>
                    <a:pt x="56" y="186"/>
                    <a:pt x="59" y="242"/>
                    <a:pt x="63" y="258"/>
                  </a:cubicBezTo>
                  <a:cubicBezTo>
                    <a:pt x="91" y="258"/>
                    <a:pt x="91" y="258"/>
                    <a:pt x="91" y="25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0" y="0"/>
                    <a:pt x="160" y="0"/>
                    <a:pt x="160" y="0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ïṥļîdê">
              <a:extLst>
                <a:ext uri="{FF2B5EF4-FFF2-40B4-BE49-F238E27FC236}">
                  <a16:creationId xmlns:a16="http://schemas.microsoft.com/office/drawing/2014/main" id="{135D0D4C-D18D-4EA1-8E4B-F3F3E061127A}"/>
                </a:ext>
              </a:extLst>
            </p:cNvPr>
            <p:cNvSpPr/>
            <p:nvPr userDrawn="1"/>
          </p:nvSpPr>
          <p:spPr bwMode="auto">
            <a:xfrm>
              <a:off x="5634038" y="2728913"/>
              <a:ext cx="190500" cy="284163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isḻîḋè">
              <a:extLst>
                <a:ext uri="{FF2B5EF4-FFF2-40B4-BE49-F238E27FC236}">
                  <a16:creationId xmlns:a16="http://schemas.microsoft.com/office/drawing/2014/main" id="{711F711D-E110-421D-933F-4C10A1A62617}"/>
                </a:ext>
              </a:extLst>
            </p:cNvPr>
            <p:cNvSpPr/>
            <p:nvPr userDrawn="1"/>
          </p:nvSpPr>
          <p:spPr bwMode="auto">
            <a:xfrm>
              <a:off x="5676900" y="2798763"/>
              <a:ext cx="147638" cy="177800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íṥľïḓê">
              <a:extLst>
                <a:ext uri="{FF2B5EF4-FFF2-40B4-BE49-F238E27FC236}">
                  <a16:creationId xmlns:a16="http://schemas.microsoft.com/office/drawing/2014/main" id="{7070EA34-2784-4362-8DF0-EA6726DC0BD9}"/>
                </a:ext>
              </a:extLst>
            </p:cNvPr>
            <p:cNvSpPr/>
            <p:nvPr userDrawn="1"/>
          </p:nvSpPr>
          <p:spPr bwMode="auto">
            <a:xfrm>
              <a:off x="5707063" y="2803525"/>
              <a:ext cx="117475" cy="8096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íş1íḋê">
              <a:extLst>
                <a:ext uri="{FF2B5EF4-FFF2-40B4-BE49-F238E27FC236}">
                  <a16:creationId xmlns:a16="http://schemas.microsoft.com/office/drawing/2014/main" id="{491A23F2-4EB6-4B83-9630-37BEFCB7E628}"/>
                </a:ext>
              </a:extLst>
            </p:cNvPr>
            <p:cNvSpPr/>
            <p:nvPr userDrawn="1"/>
          </p:nvSpPr>
          <p:spPr bwMode="auto">
            <a:xfrm>
              <a:off x="6418263" y="2795588"/>
              <a:ext cx="214313" cy="287338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íṧḷíďè">
              <a:extLst>
                <a:ext uri="{FF2B5EF4-FFF2-40B4-BE49-F238E27FC236}">
                  <a16:creationId xmlns:a16="http://schemas.microsoft.com/office/drawing/2014/main" id="{322F4DD9-730D-4544-A7DE-3350831769B1}"/>
                </a:ext>
              </a:extLst>
            </p:cNvPr>
            <p:cNvSpPr/>
            <p:nvPr userDrawn="1"/>
          </p:nvSpPr>
          <p:spPr bwMode="auto">
            <a:xfrm>
              <a:off x="6418263" y="2865438"/>
              <a:ext cx="173038" cy="176213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ïşlíďe">
              <a:extLst>
                <a:ext uri="{FF2B5EF4-FFF2-40B4-BE49-F238E27FC236}">
                  <a16:creationId xmlns:a16="http://schemas.microsoft.com/office/drawing/2014/main" id="{1DB26175-BBC7-4751-8986-01AC218C0414}"/>
                </a:ext>
              </a:extLst>
            </p:cNvPr>
            <p:cNvSpPr/>
            <p:nvPr userDrawn="1"/>
          </p:nvSpPr>
          <p:spPr bwMode="auto">
            <a:xfrm>
              <a:off x="6434138" y="2873375"/>
              <a:ext cx="123825" cy="61913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íṧ1iḍé">
              <a:extLst>
                <a:ext uri="{FF2B5EF4-FFF2-40B4-BE49-F238E27FC236}">
                  <a16:creationId xmlns:a16="http://schemas.microsoft.com/office/drawing/2014/main" id="{39926ECE-6B6B-4858-B85D-CBDFEBE5E3E2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íSḷíḍé">
              <a:extLst>
                <a:ext uri="{FF2B5EF4-FFF2-40B4-BE49-F238E27FC236}">
                  <a16:creationId xmlns:a16="http://schemas.microsoft.com/office/drawing/2014/main" id="{543C7DE3-45FE-4694-A597-44516AF0D109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ï$lïďê">
              <a:extLst>
                <a:ext uri="{FF2B5EF4-FFF2-40B4-BE49-F238E27FC236}">
                  <a16:creationId xmlns:a16="http://schemas.microsoft.com/office/drawing/2014/main" id="{56903C60-43D1-41B4-A06B-5D4321B26180}"/>
                </a:ext>
              </a:extLst>
            </p:cNvPr>
            <p:cNvSpPr/>
            <p:nvPr userDrawn="1"/>
          </p:nvSpPr>
          <p:spPr bwMode="auto">
            <a:xfrm>
              <a:off x="6024563" y="3155950"/>
              <a:ext cx="176213" cy="88900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iṩlïḍe">
              <a:extLst>
                <a:ext uri="{FF2B5EF4-FFF2-40B4-BE49-F238E27FC236}">
                  <a16:creationId xmlns:a16="http://schemas.microsoft.com/office/drawing/2014/main" id="{58D298C8-779C-40AB-AEB2-79554B903AA5}"/>
                </a:ext>
              </a:extLst>
            </p:cNvPr>
            <p:cNvSpPr/>
            <p:nvPr userDrawn="1"/>
          </p:nvSpPr>
          <p:spPr bwMode="auto">
            <a:xfrm>
              <a:off x="5780088" y="2468563"/>
              <a:ext cx="723900" cy="784225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iš1íḓè">
              <a:extLst>
                <a:ext uri="{FF2B5EF4-FFF2-40B4-BE49-F238E27FC236}">
                  <a16:creationId xmlns:a16="http://schemas.microsoft.com/office/drawing/2014/main" id="{54D6F5CC-D071-4394-BC18-281B7DFF3181}"/>
                </a:ext>
              </a:extLst>
            </p:cNvPr>
            <p:cNvSpPr/>
            <p:nvPr userDrawn="1"/>
          </p:nvSpPr>
          <p:spPr bwMode="auto">
            <a:xfrm>
              <a:off x="5780088" y="2644775"/>
              <a:ext cx="4763" cy="103188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işļíḍê">
              <a:extLst>
                <a:ext uri="{FF2B5EF4-FFF2-40B4-BE49-F238E27FC236}">
                  <a16:creationId xmlns:a16="http://schemas.microsoft.com/office/drawing/2014/main" id="{3218969E-AA7B-40DC-8260-8CE831764568}"/>
                </a:ext>
              </a:extLst>
            </p:cNvPr>
            <p:cNvSpPr/>
            <p:nvPr userDrawn="1"/>
          </p:nvSpPr>
          <p:spPr bwMode="auto">
            <a:xfrm>
              <a:off x="5570538" y="2301875"/>
              <a:ext cx="1014413" cy="971550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ïṡļíḋe">
              <a:extLst>
                <a:ext uri="{FF2B5EF4-FFF2-40B4-BE49-F238E27FC236}">
                  <a16:creationId xmlns:a16="http://schemas.microsoft.com/office/drawing/2014/main" id="{C315C162-743C-4C8A-A730-B6F554292C8F}"/>
                </a:ext>
              </a:extLst>
            </p:cNvPr>
            <p:cNvSpPr/>
            <p:nvPr userDrawn="1"/>
          </p:nvSpPr>
          <p:spPr bwMode="auto">
            <a:xfrm>
              <a:off x="5676900" y="2189163"/>
              <a:ext cx="860425" cy="717550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işľiḍê">
              <a:extLst>
                <a:ext uri="{FF2B5EF4-FFF2-40B4-BE49-F238E27FC236}">
                  <a16:creationId xmlns:a16="http://schemas.microsoft.com/office/drawing/2014/main" id="{681D4D48-80AB-4D9A-81C9-D092F448528A}"/>
                </a:ext>
              </a:extLst>
            </p:cNvPr>
            <p:cNvSpPr/>
            <p:nvPr userDrawn="1"/>
          </p:nvSpPr>
          <p:spPr bwMode="auto">
            <a:xfrm>
              <a:off x="5411788" y="3370263"/>
              <a:ext cx="1390650" cy="784225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işḻíḍé">
              <a:extLst>
                <a:ext uri="{FF2B5EF4-FFF2-40B4-BE49-F238E27FC236}">
                  <a16:creationId xmlns:a16="http://schemas.microsoft.com/office/drawing/2014/main" id="{1ADB9D3C-96A2-46FB-A786-A013523138CA}"/>
                </a:ext>
              </a:extLst>
            </p:cNvPr>
            <p:cNvSpPr/>
            <p:nvPr userDrawn="1"/>
          </p:nvSpPr>
          <p:spPr bwMode="auto">
            <a:xfrm>
              <a:off x="5611813" y="3451225"/>
              <a:ext cx="1001713" cy="1181100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ïṣľïḓè">
              <a:extLst>
                <a:ext uri="{FF2B5EF4-FFF2-40B4-BE49-F238E27FC236}">
                  <a16:creationId xmlns:a16="http://schemas.microsoft.com/office/drawing/2014/main" id="{20762A78-0255-406C-BC46-61DC0D1674CB}"/>
                </a:ext>
              </a:extLst>
            </p:cNvPr>
            <p:cNvSpPr/>
            <p:nvPr userDrawn="1"/>
          </p:nvSpPr>
          <p:spPr bwMode="auto">
            <a:xfrm>
              <a:off x="5659438" y="3451225"/>
              <a:ext cx="906463" cy="1111250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îšlídè">
              <a:extLst>
                <a:ext uri="{FF2B5EF4-FFF2-40B4-BE49-F238E27FC236}">
                  <a16:creationId xmlns:a16="http://schemas.microsoft.com/office/drawing/2014/main" id="{26DA3A76-D916-4ACF-BB4B-09703FA851A3}"/>
                </a:ext>
              </a:extLst>
            </p:cNvPr>
            <p:cNvSpPr/>
            <p:nvPr userDrawn="1"/>
          </p:nvSpPr>
          <p:spPr bwMode="auto">
            <a:xfrm>
              <a:off x="5643563" y="2725738"/>
              <a:ext cx="908050" cy="588963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ïṩḷídé">
              <a:extLst>
                <a:ext uri="{FF2B5EF4-FFF2-40B4-BE49-F238E27FC236}">
                  <a16:creationId xmlns:a16="http://schemas.microsoft.com/office/drawing/2014/main" id="{A677A730-02C2-487B-8977-4809A9059ABE}"/>
                </a:ext>
              </a:extLst>
            </p:cNvPr>
            <p:cNvSpPr/>
            <p:nvPr userDrawn="1"/>
          </p:nvSpPr>
          <p:spPr bwMode="auto">
            <a:xfrm>
              <a:off x="5703888" y="2747963"/>
              <a:ext cx="792163" cy="515938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íŝliḓè">
              <a:extLst>
                <a:ext uri="{FF2B5EF4-FFF2-40B4-BE49-F238E27FC236}">
                  <a16:creationId xmlns:a16="http://schemas.microsoft.com/office/drawing/2014/main" id="{DD6D326A-2354-4C03-AB6B-49C16EF157C8}"/>
                </a:ext>
              </a:extLst>
            </p:cNvPr>
            <p:cNvSpPr/>
            <p:nvPr userDrawn="1"/>
          </p:nvSpPr>
          <p:spPr bwMode="auto">
            <a:xfrm>
              <a:off x="5508625" y="4651375"/>
              <a:ext cx="1171575" cy="274638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ïSľíḋê">
              <a:extLst>
                <a:ext uri="{FF2B5EF4-FFF2-40B4-BE49-F238E27FC236}">
                  <a16:creationId xmlns:a16="http://schemas.microsoft.com/office/drawing/2014/main" id="{40A34E5A-796D-4746-AB6A-658AAC78E751}"/>
                </a:ext>
              </a:extLst>
            </p:cNvPr>
            <p:cNvSpPr/>
            <p:nvPr userDrawn="1"/>
          </p:nvSpPr>
          <p:spPr bwMode="auto">
            <a:xfrm>
              <a:off x="5643563" y="4651375"/>
              <a:ext cx="896938" cy="69850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íšļiḑê">
              <a:extLst>
                <a:ext uri="{FF2B5EF4-FFF2-40B4-BE49-F238E27FC236}">
                  <a16:creationId xmlns:a16="http://schemas.microsoft.com/office/drawing/2014/main" id="{BF761B53-9819-4981-B06C-5F03C421569A}"/>
                </a:ext>
              </a:extLst>
            </p:cNvPr>
            <p:cNvSpPr/>
            <p:nvPr userDrawn="1"/>
          </p:nvSpPr>
          <p:spPr bwMode="auto">
            <a:xfrm>
              <a:off x="6035675" y="4926013"/>
              <a:ext cx="109538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îşļiḓè">
              <a:extLst>
                <a:ext uri="{FF2B5EF4-FFF2-40B4-BE49-F238E27FC236}">
                  <a16:creationId xmlns:a16="http://schemas.microsoft.com/office/drawing/2014/main" id="{75FEF938-8AAF-47B1-9CFA-F7B86EBBBE0C}"/>
                </a:ext>
              </a:extLst>
            </p:cNvPr>
            <p:cNvSpPr/>
            <p:nvPr userDrawn="1"/>
          </p:nvSpPr>
          <p:spPr bwMode="auto">
            <a:xfrm>
              <a:off x="5518150" y="4816475"/>
              <a:ext cx="1150938" cy="109538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ïṥḻïḋê">
              <a:extLst>
                <a:ext uri="{FF2B5EF4-FFF2-40B4-BE49-F238E27FC236}">
                  <a16:creationId xmlns:a16="http://schemas.microsoft.com/office/drawing/2014/main" id="{761C5328-12F1-4870-9D49-FC4F1FD7F95C}"/>
                </a:ext>
              </a:extLst>
            </p:cNvPr>
            <p:cNvSpPr/>
            <p:nvPr userDrawn="1"/>
          </p:nvSpPr>
          <p:spPr bwMode="auto">
            <a:xfrm>
              <a:off x="6005513" y="4116388"/>
              <a:ext cx="173038" cy="1495425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6" name="işḻíḓé">
              <a:extLst>
                <a:ext uri="{FF2B5EF4-FFF2-40B4-BE49-F238E27FC236}">
                  <a16:creationId xmlns:a16="http://schemas.microsoft.com/office/drawing/2014/main" id="{800FAB39-622F-44D6-8F88-A5A46160EC15}"/>
                </a:ext>
              </a:extLst>
            </p:cNvPr>
            <p:cNvSpPr/>
            <p:nvPr userDrawn="1"/>
          </p:nvSpPr>
          <p:spPr bwMode="auto">
            <a:xfrm>
              <a:off x="6030913" y="2868613"/>
              <a:ext cx="122238" cy="1270000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7" name="íṧḷidé">
              <a:extLst>
                <a:ext uri="{FF2B5EF4-FFF2-40B4-BE49-F238E27FC236}">
                  <a16:creationId xmlns:a16="http://schemas.microsoft.com/office/drawing/2014/main" id="{ABDDBA1D-771A-4AEA-A275-7714B58A5CDE}"/>
                </a:ext>
              </a:extLst>
            </p:cNvPr>
            <p:cNvSpPr/>
            <p:nvPr userDrawn="1"/>
          </p:nvSpPr>
          <p:spPr bwMode="auto">
            <a:xfrm>
              <a:off x="5383213" y="5600700"/>
              <a:ext cx="471488" cy="184150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8" name="i$ḷîde">
              <a:extLst>
                <a:ext uri="{FF2B5EF4-FFF2-40B4-BE49-F238E27FC236}">
                  <a16:creationId xmlns:a16="http://schemas.microsoft.com/office/drawing/2014/main" id="{9464BA44-5546-4BFF-81AB-C9EB3BBBDEC1}"/>
                </a:ext>
              </a:extLst>
            </p:cNvPr>
            <p:cNvSpPr/>
            <p:nvPr userDrawn="1"/>
          </p:nvSpPr>
          <p:spPr bwMode="auto">
            <a:xfrm>
              <a:off x="5268913" y="4138613"/>
              <a:ext cx="825500" cy="825500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9" name="ïşḻïḓe">
              <a:extLst>
                <a:ext uri="{FF2B5EF4-FFF2-40B4-BE49-F238E27FC236}">
                  <a16:creationId xmlns:a16="http://schemas.microsoft.com/office/drawing/2014/main" id="{1901A403-0731-4E76-92DF-03729A93EFB7}"/>
                </a:ext>
              </a:extLst>
            </p:cNvPr>
            <p:cNvSpPr/>
            <p:nvPr userDrawn="1"/>
          </p:nvSpPr>
          <p:spPr bwMode="auto">
            <a:xfrm>
              <a:off x="6119813" y="4138613"/>
              <a:ext cx="822325" cy="825500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0" name="iṩḻïdè">
              <a:extLst>
                <a:ext uri="{FF2B5EF4-FFF2-40B4-BE49-F238E27FC236}">
                  <a16:creationId xmlns:a16="http://schemas.microsoft.com/office/drawing/2014/main" id="{EF7DB912-9B49-41EB-B054-0F306C4A4812}"/>
                </a:ext>
              </a:extLst>
            </p:cNvPr>
            <p:cNvSpPr/>
            <p:nvPr userDrawn="1"/>
          </p:nvSpPr>
          <p:spPr bwMode="auto">
            <a:xfrm>
              <a:off x="5994400" y="5611813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1" name="íṧḻíḋe">
              <a:extLst>
                <a:ext uri="{FF2B5EF4-FFF2-40B4-BE49-F238E27FC236}">
                  <a16:creationId xmlns:a16="http://schemas.microsoft.com/office/drawing/2014/main" id="{33CCAEBA-612A-42AC-BA81-AE941F910FCA}"/>
                </a:ext>
              </a:extLst>
            </p:cNvPr>
            <p:cNvSpPr/>
            <p:nvPr userDrawn="1"/>
          </p:nvSpPr>
          <p:spPr bwMode="auto">
            <a:xfrm>
              <a:off x="5994400" y="4054475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2" name="ïş1ïḓê">
              <a:extLst>
                <a:ext uri="{FF2B5EF4-FFF2-40B4-BE49-F238E27FC236}">
                  <a16:creationId xmlns:a16="http://schemas.microsoft.com/office/drawing/2014/main" id="{5B972618-293F-4550-A1A5-6F1ADEBFF5CA}"/>
                </a:ext>
              </a:extLst>
            </p:cNvPr>
            <p:cNvSpPr/>
            <p:nvPr userDrawn="1"/>
          </p:nvSpPr>
          <p:spPr bwMode="auto">
            <a:xfrm>
              <a:off x="565943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3" name="iṥḷïdé">
              <a:extLst>
                <a:ext uri="{FF2B5EF4-FFF2-40B4-BE49-F238E27FC236}">
                  <a16:creationId xmlns:a16="http://schemas.microsoft.com/office/drawing/2014/main" id="{A33E5FAA-7EE3-4655-8B96-50B25FCD10FB}"/>
                </a:ext>
              </a:extLst>
            </p:cNvPr>
            <p:cNvSpPr/>
            <p:nvPr userDrawn="1"/>
          </p:nvSpPr>
          <p:spPr bwMode="auto">
            <a:xfrm>
              <a:off x="632618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4" name="îṩľîde">
              <a:extLst>
                <a:ext uri="{FF2B5EF4-FFF2-40B4-BE49-F238E27FC236}">
                  <a16:creationId xmlns:a16="http://schemas.microsoft.com/office/drawing/2014/main" id="{79DA4745-2D3A-467A-ADB1-48DE97A435A2}"/>
                </a:ext>
              </a:extLst>
            </p:cNvPr>
            <p:cNvSpPr/>
            <p:nvPr userDrawn="1"/>
          </p:nvSpPr>
          <p:spPr bwMode="auto">
            <a:xfrm>
              <a:off x="5788025" y="5600700"/>
              <a:ext cx="612775" cy="6985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487784" y="4225335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87784" y="3929064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487785" y="1189668"/>
            <a:ext cx="4470400" cy="2263775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17588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TW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TW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64C0B4-EC1E-4FC9-B104-936E49C44DDA}" type="slidenum">
              <a:rPr lang="zh-TW" altLang="en-US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4424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E457D"/>
                </a:solidFill>
              </a:defRPr>
            </a:lvl1pPr>
          </a:lstStyle>
          <a:p>
            <a:r>
              <a:rPr kumimoji="0" lang="zh-TW" altLang="en-US" dirty="0"/>
              <a:t>按一下以編輯母片標題樣式</a:t>
            </a:r>
            <a:endParaRPr kumimoji="0" lang="en-US" dirty="0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23923-BD85-414E-96BB-71FAA6A68C81}" type="datetime1">
              <a:rPr lang="zh-TW" altLang="en-US" smtClean="0"/>
              <a:t>2022/12/20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4056350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 bwMode="white">
          <a:xfrm>
            <a:off x="0" y="5971032"/>
            <a:ext cx="12192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-12192" y="6053328"/>
            <a:ext cx="2999232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3145536" y="6044184"/>
            <a:ext cx="9046464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標題 7"/>
          <p:cNvSpPr>
            <a:spLocks noGrp="1"/>
          </p:cNvSpPr>
          <p:nvPr>
            <p:ph type="ctrTitle"/>
          </p:nvPr>
        </p:nvSpPr>
        <p:spPr>
          <a:xfrm>
            <a:off x="3149600" y="4038600"/>
            <a:ext cx="8636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9" name="副標題 8"/>
          <p:cNvSpPr>
            <a:spLocks noGrp="1"/>
          </p:cNvSpPr>
          <p:nvPr>
            <p:ph type="subTitle" idx="1"/>
          </p:nvPr>
        </p:nvSpPr>
        <p:spPr>
          <a:xfrm>
            <a:off x="3149600" y="6050037"/>
            <a:ext cx="89408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zh-TW" altLang="en-US"/>
              <a:t>按一下以編輯母片副標題樣式</a:t>
            </a:r>
            <a:endParaRPr kumimoji="0" lang="en-US"/>
          </a:p>
        </p:txBody>
      </p:sp>
      <p:sp>
        <p:nvSpPr>
          <p:cNvPr id="28" name="日期版面配置區 27"/>
          <p:cNvSpPr>
            <a:spLocks noGrp="1"/>
          </p:cNvSpPr>
          <p:nvPr>
            <p:ph type="dt" sz="half" idx="10"/>
          </p:nvPr>
        </p:nvSpPr>
        <p:spPr>
          <a:xfrm>
            <a:off x="101600" y="6068699"/>
            <a:ext cx="27432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fld id="{B5EBA558-07F9-4255-BA37-F47DCA9FDA64}" type="datetime1">
              <a:rPr lang="zh-TW" altLang="en-US" smtClean="0"/>
              <a:t>2022/12/20</a:t>
            </a:fld>
            <a:endParaRPr lang="zh-TW" altLang="en-US"/>
          </a:p>
        </p:txBody>
      </p:sp>
      <p:sp>
        <p:nvSpPr>
          <p:cNvPr id="17" name="頁尾版面配置區 16"/>
          <p:cNvSpPr>
            <a:spLocks noGrp="1"/>
          </p:cNvSpPr>
          <p:nvPr>
            <p:ph type="ftr" sz="quarter" idx="11"/>
          </p:nvPr>
        </p:nvSpPr>
        <p:spPr>
          <a:xfrm>
            <a:off x="2780524" y="236539"/>
            <a:ext cx="782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endParaRPr lang="zh-TW" altLang="en-US"/>
          </a:p>
        </p:txBody>
      </p:sp>
      <p:sp>
        <p:nvSpPr>
          <p:cNvPr id="29" name="投影片編號版面配置區 28"/>
          <p:cNvSpPr>
            <a:spLocks noGrp="1"/>
          </p:cNvSpPr>
          <p:nvPr>
            <p:ph type="sldNum" sz="quarter" idx="12"/>
          </p:nvPr>
        </p:nvSpPr>
        <p:spPr>
          <a:xfrm>
            <a:off x="10668000" y="228600"/>
            <a:ext cx="11176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354651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16864" y="228600"/>
            <a:ext cx="10871200" cy="990600"/>
          </a:xfrm>
        </p:spPr>
        <p:txBody>
          <a:bodyPr/>
          <a:lstStyle/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40CE6-D919-4C3E-A2AA-5BBC8A33722C}" type="datetime1">
              <a:rPr lang="zh-TW" altLang="en-US" smtClean="0"/>
              <a:t>2022/12/20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8" name="內容版面配置區 7"/>
          <p:cNvSpPr>
            <a:spLocks noGrp="1"/>
          </p:cNvSpPr>
          <p:nvPr>
            <p:ph sz="quarter" idx="1"/>
          </p:nvPr>
        </p:nvSpPr>
        <p:spPr>
          <a:xfrm>
            <a:off x="816864" y="1600200"/>
            <a:ext cx="10871200" cy="4495800"/>
          </a:xfrm>
        </p:spPr>
        <p:txBody>
          <a:bodyPr>
            <a:normAutofit/>
          </a:bodyPr>
          <a:lstStyle>
            <a:lvl1pPr marL="320040" indent="-320040">
              <a:buFont typeface="Wingdings" panose="05000000000000000000" pitchFamily="2" charset="2"/>
              <a:buChar char="l"/>
              <a:defRPr sz="2000"/>
            </a:lvl1pPr>
            <a:lvl2pPr marL="640080" indent="-274320">
              <a:buFont typeface="Wingdings" panose="05000000000000000000" pitchFamily="2" charset="2"/>
              <a:buChar char="l"/>
              <a:defRPr sz="2000"/>
            </a:lvl2pPr>
            <a:lvl3pPr marL="914400" indent="-228600">
              <a:buFont typeface="Wingdings" panose="05000000000000000000" pitchFamily="2" charset="2"/>
              <a:buChar char="l"/>
              <a:defRPr sz="2000"/>
            </a:lvl3pPr>
            <a:lvl4pPr marL="1371600" indent="-228600">
              <a:buFont typeface="Wingdings" panose="05000000000000000000" pitchFamily="2" charset="2"/>
              <a:buChar char="l"/>
              <a:defRPr sz="2000"/>
            </a:lvl4pPr>
            <a:lvl5pPr marL="1828800" indent="-228600">
              <a:buFont typeface="Wingdings" panose="05000000000000000000" pitchFamily="2" charset="2"/>
              <a:buChar char="l"/>
              <a:defRPr sz="2000"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6912207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章節標題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1828801" y="2743200"/>
            <a:ext cx="9497484" cy="1673225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zh-TW" altLang="en-US"/>
              <a:t>按一下以編輯母片文字樣式</a:t>
            </a:r>
          </a:p>
        </p:txBody>
      </p:sp>
      <p:sp>
        <p:nvSpPr>
          <p:cNvPr id="7" name="矩形 6"/>
          <p:cNvSpPr/>
          <p:nvPr/>
        </p:nvSpPr>
        <p:spPr bwMode="white">
          <a:xfrm>
            <a:off x="0" y="1524000"/>
            <a:ext cx="12192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1600200"/>
            <a:ext cx="17272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1828800" y="1600200"/>
            <a:ext cx="103632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828800" y="1600200"/>
            <a:ext cx="1016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zh-TW" altLang="en-US" dirty="0"/>
              <a:t>按一下以編輯母片標題樣式</a:t>
            </a:r>
            <a:endParaRPr kumimoji="0" lang="en-US" dirty="0"/>
          </a:p>
        </p:txBody>
      </p:sp>
      <p:sp>
        <p:nvSpPr>
          <p:cNvPr id="12" name="日期版面配置區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49036-72FA-4225-BD05-3F2000734170}" type="datetime1">
              <a:rPr lang="zh-TW" altLang="en-US" smtClean="0"/>
              <a:t>2022/12/20</a:t>
            </a:fld>
            <a:endParaRPr lang="zh-TW" altLang="en-US"/>
          </a:p>
        </p:txBody>
      </p:sp>
      <p:sp>
        <p:nvSpPr>
          <p:cNvPr id="13" name="投影片編號版面配置區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727200" cy="701676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4" name="頁尾版面配置區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341173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9" name="內容版面配置區 8"/>
          <p:cNvSpPr>
            <a:spLocks noGrp="1"/>
          </p:cNvSpPr>
          <p:nvPr>
            <p:ph sz="quarter" idx="1"/>
          </p:nvPr>
        </p:nvSpPr>
        <p:spPr>
          <a:xfrm>
            <a:off x="812800" y="1589567"/>
            <a:ext cx="5181600" cy="4572000"/>
          </a:xfrm>
        </p:spPr>
        <p:txBody>
          <a:bodyPr/>
          <a:lstStyle>
            <a:lvl1pPr marL="320040" indent="-320040">
              <a:buFont typeface="Wingdings" panose="05000000000000000000" pitchFamily="2" charset="2"/>
              <a:buChar char="l"/>
              <a:defRPr/>
            </a:lvl1pPr>
            <a:lvl2pPr marL="640080" indent="-274320">
              <a:buFont typeface="Wingdings" panose="05000000000000000000" pitchFamily="2" charset="2"/>
              <a:buChar char="l"/>
              <a:defRPr/>
            </a:lvl2pPr>
            <a:lvl3pPr marL="914400" indent="-228600">
              <a:buFont typeface="Wingdings" panose="05000000000000000000" pitchFamily="2" charset="2"/>
              <a:buChar char="l"/>
              <a:defRPr/>
            </a:lvl3pPr>
            <a:lvl4pPr marL="1371600" indent="-228600">
              <a:buFont typeface="Wingdings" panose="05000000000000000000" pitchFamily="2" charset="2"/>
              <a:buChar char="l"/>
              <a:defRPr/>
            </a:lvl4pPr>
            <a:lvl5pPr marL="1828800" indent="-228600">
              <a:buFont typeface="Wingdings" panose="05000000000000000000" pitchFamily="2" charset="2"/>
              <a:buChar char="l"/>
              <a:defRPr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  <p:sp>
        <p:nvSpPr>
          <p:cNvPr id="11" name="內容版面配置區 10"/>
          <p:cNvSpPr>
            <a:spLocks noGrp="1"/>
          </p:cNvSpPr>
          <p:nvPr>
            <p:ph sz="quarter" idx="2"/>
          </p:nvPr>
        </p:nvSpPr>
        <p:spPr>
          <a:xfrm>
            <a:off x="6459868" y="1589567"/>
            <a:ext cx="5181600" cy="4572000"/>
          </a:xfrm>
        </p:spPr>
        <p:txBody>
          <a:bodyPr/>
          <a:lstStyle>
            <a:lvl1pPr marL="320040" indent="-320040">
              <a:buFont typeface="Wingdings" panose="05000000000000000000" pitchFamily="2" charset="2"/>
              <a:buChar char="l"/>
              <a:defRPr/>
            </a:lvl1pPr>
            <a:lvl2pPr marL="640080" indent="-274320">
              <a:buFont typeface="Wingdings" panose="05000000000000000000" pitchFamily="2" charset="2"/>
              <a:buChar char="l"/>
              <a:defRPr/>
            </a:lvl2pPr>
            <a:lvl3pPr marL="914400" indent="-228600">
              <a:buFont typeface="Wingdings" panose="05000000000000000000" pitchFamily="2" charset="2"/>
              <a:buChar char="l"/>
              <a:defRPr/>
            </a:lvl3pPr>
            <a:lvl4pPr marL="1371600" indent="-228600">
              <a:buFont typeface="Wingdings" panose="05000000000000000000" pitchFamily="2" charset="2"/>
              <a:buChar char="l"/>
              <a:defRPr/>
            </a:lvl4pPr>
            <a:lvl5pPr marL="1828800" indent="-228600">
              <a:buFont typeface="Wingdings" panose="05000000000000000000" pitchFamily="2" charset="2"/>
              <a:buChar char="l"/>
              <a:defRPr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3F2153AC-58B4-40E8-9277-A42E737D8EA7}" type="datetime1">
              <a:rPr lang="zh-TW" altLang="en-US" smtClean="0"/>
              <a:t>2022/12/20</a:t>
            </a:fld>
            <a:endParaRPr lang="zh-TW" altLang="en-US"/>
          </a:p>
        </p:txBody>
      </p:sp>
      <p:sp>
        <p:nvSpPr>
          <p:cNvPr id="10" name="投影片編號版面配置區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2" name="頁尾版面配置區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30386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11" name="內容版面配置區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>
            <a:normAutofit/>
          </a:bodyPr>
          <a:lstStyle>
            <a:lvl1pPr marL="320040" indent="-320040">
              <a:buFont typeface="Wingdings" panose="05000000000000000000" pitchFamily="2" charset="2"/>
              <a:buChar char="l"/>
              <a:defRPr sz="2000"/>
            </a:lvl1pPr>
            <a:lvl2pPr marL="640080" indent="-274320">
              <a:buFont typeface="Wingdings" panose="05000000000000000000" pitchFamily="2" charset="2"/>
              <a:buChar char="l"/>
              <a:defRPr sz="2000"/>
            </a:lvl2pPr>
            <a:lvl3pPr marL="914400" indent="-228600">
              <a:buFont typeface="Wingdings" panose="05000000000000000000" pitchFamily="2" charset="2"/>
              <a:buChar char="l"/>
              <a:defRPr sz="2000"/>
            </a:lvl3pPr>
            <a:lvl4pPr marL="1371600" indent="-228600">
              <a:buFont typeface="Wingdings" panose="05000000000000000000" pitchFamily="2" charset="2"/>
              <a:buChar char="l"/>
              <a:defRPr sz="2000"/>
            </a:lvl4pPr>
            <a:lvl5pPr marL="1828800" indent="-228600">
              <a:buFont typeface="Wingdings" panose="05000000000000000000" pitchFamily="2" charset="2"/>
              <a:buChar char="l"/>
              <a:defRPr sz="2000"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  <p:sp>
        <p:nvSpPr>
          <p:cNvPr id="13" name="內容版面配置區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>
            <a:normAutofit/>
          </a:bodyPr>
          <a:lstStyle>
            <a:lvl1pPr marL="320040" indent="-320040">
              <a:buFont typeface="Wingdings" panose="05000000000000000000" pitchFamily="2" charset="2"/>
              <a:buChar char="l"/>
              <a:defRPr sz="2000"/>
            </a:lvl1pPr>
            <a:lvl2pPr marL="640080" indent="-274320">
              <a:buFont typeface="Wingdings" panose="05000000000000000000" pitchFamily="2" charset="2"/>
              <a:buChar char="l"/>
              <a:defRPr sz="2000"/>
            </a:lvl2pPr>
            <a:lvl3pPr marL="914400" indent="-228600">
              <a:buFont typeface="Wingdings" panose="05000000000000000000" pitchFamily="2" charset="2"/>
              <a:buChar char="l"/>
              <a:defRPr sz="2000"/>
            </a:lvl3pPr>
            <a:lvl4pPr marL="1371600" indent="-228600">
              <a:buFont typeface="Wingdings" panose="05000000000000000000" pitchFamily="2" charset="2"/>
              <a:buChar char="l"/>
              <a:defRPr sz="2000"/>
            </a:lvl4pPr>
            <a:lvl5pPr marL="1828800" indent="-228600">
              <a:buFont typeface="Wingdings" panose="05000000000000000000" pitchFamily="2" charset="2"/>
              <a:buChar char="l"/>
              <a:defRPr sz="2000"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  <p:sp>
        <p:nvSpPr>
          <p:cNvPr id="10" name="日期版面配置區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08E04111-6B98-4176-A24A-3D36E83AF803}" type="datetime1">
              <a:rPr lang="zh-TW" altLang="en-US" smtClean="0"/>
              <a:t>2022/12/20</a:t>
            </a:fld>
            <a:endParaRPr lang="zh-TW" altLang="en-US"/>
          </a:p>
        </p:txBody>
      </p:sp>
      <p:sp>
        <p:nvSpPr>
          <p:cNvPr id="12" name="投影片編號版面配置區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4" name="頁尾版面配置區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zh-TW" altLang="en-US"/>
          </a:p>
        </p:txBody>
      </p:sp>
      <p:sp>
        <p:nvSpPr>
          <p:cNvPr id="16" name="文字版面配置區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zh-TW" altLang="en-US" dirty="0"/>
              <a:t>按一下以編輯母片文字樣式</a:t>
            </a:r>
          </a:p>
        </p:txBody>
      </p:sp>
      <p:sp>
        <p:nvSpPr>
          <p:cNvPr id="15" name="文字版面配置區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zh-TW" altLang="en-US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26398632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2/12/20</a:t>
            </a:fld>
            <a:endParaRPr lang="zh-CN" altLang="en-US" dirty="0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96371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9" r:id="rId2"/>
    <p:sldLayoutId id="2147484022" r:id="rId3"/>
    <p:sldLayoutId id="2147484030" r:id="rId4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標題版面配置區 21"/>
          <p:cNvSpPr>
            <a:spLocks noGrp="1"/>
          </p:cNvSpPr>
          <p:nvPr>
            <p:ph type="title"/>
          </p:nvPr>
        </p:nvSpPr>
        <p:spPr>
          <a:xfrm>
            <a:off x="812800" y="228600"/>
            <a:ext cx="10871200" cy="990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zh-TW" altLang="en-US" dirty="0"/>
              <a:t>按一下以編輯母片標題樣式</a:t>
            </a:r>
            <a:endParaRPr kumimoji="0" lang="en-US" dirty="0"/>
          </a:p>
        </p:txBody>
      </p:sp>
      <p:sp>
        <p:nvSpPr>
          <p:cNvPr id="13" name="文字版面配置區 12"/>
          <p:cNvSpPr>
            <a:spLocks noGrp="1"/>
          </p:cNvSpPr>
          <p:nvPr>
            <p:ph type="body" idx="1"/>
          </p:nvPr>
        </p:nvSpPr>
        <p:spPr>
          <a:xfrm>
            <a:off x="816864" y="1600200"/>
            <a:ext cx="10871200" cy="452628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zh-TW" altLang="en-US" dirty="0"/>
              <a:t>按一下以編輯母片文字樣式</a:t>
            </a:r>
          </a:p>
          <a:p>
            <a:pPr lvl="1" eaLnBrk="1" latinLnBrk="0" hangingPunct="1"/>
            <a:r>
              <a:rPr kumimoji="0" lang="zh-TW" altLang="en-US" dirty="0"/>
              <a:t>第二層</a:t>
            </a:r>
          </a:p>
          <a:p>
            <a:pPr lvl="2" eaLnBrk="1" latinLnBrk="0" hangingPunct="1"/>
            <a:r>
              <a:rPr kumimoji="0" lang="zh-TW" altLang="en-US" dirty="0"/>
              <a:t>第三層</a:t>
            </a:r>
          </a:p>
          <a:p>
            <a:pPr lvl="3" eaLnBrk="1" latinLnBrk="0" hangingPunct="1"/>
            <a:r>
              <a:rPr kumimoji="0" lang="zh-TW" altLang="en-US" dirty="0"/>
              <a:t>第四層</a:t>
            </a:r>
          </a:p>
          <a:p>
            <a:pPr lvl="4" eaLnBrk="1" latinLnBrk="0" hangingPunct="1"/>
            <a:r>
              <a:rPr kumimoji="0" lang="zh-TW" altLang="en-US" dirty="0"/>
              <a:t>第五層</a:t>
            </a:r>
            <a:endParaRPr kumimoji="0" lang="en-US" dirty="0"/>
          </a:p>
        </p:txBody>
      </p:sp>
      <p:sp>
        <p:nvSpPr>
          <p:cNvPr id="14" name="日期版面配置區 13"/>
          <p:cNvSpPr>
            <a:spLocks noGrp="1"/>
          </p:cNvSpPr>
          <p:nvPr>
            <p:ph type="dt" sz="half" idx="2"/>
          </p:nvPr>
        </p:nvSpPr>
        <p:spPr>
          <a:xfrm>
            <a:off x="8128000" y="6248401"/>
            <a:ext cx="3556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fld id="{C633F8FC-CD45-4E20-B5D0-800168B4EAB8}" type="datetime1">
              <a:rPr lang="zh-TW" altLang="en-US" smtClean="0"/>
              <a:pPr/>
              <a:t>2022/12/20</a:t>
            </a:fld>
            <a:endParaRPr lang="zh-TW" altLang="en-US" dirty="0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3"/>
          </p:nvPr>
        </p:nvSpPr>
        <p:spPr>
          <a:xfrm>
            <a:off x="812801" y="6248207"/>
            <a:ext cx="7228111" cy="365125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endParaRPr lang="zh-TW" altLang="en-US" dirty="0"/>
          </a:p>
        </p:txBody>
      </p:sp>
      <p:sp>
        <p:nvSpPr>
          <p:cNvPr id="7" name="矩形 6"/>
          <p:cNvSpPr/>
          <p:nvPr/>
        </p:nvSpPr>
        <p:spPr bwMode="white">
          <a:xfrm>
            <a:off x="0" y="1234440"/>
            <a:ext cx="12192000" cy="32004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1280160"/>
            <a:ext cx="7112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787400" y="1280160"/>
            <a:ext cx="1140460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23" name="投影片編號版面配置區 22"/>
          <p:cNvSpPr>
            <a:spLocks noGrp="1"/>
          </p:cNvSpPr>
          <p:nvPr>
            <p:ph type="sldNum" sz="quarter" idx="4"/>
          </p:nvPr>
        </p:nvSpPr>
        <p:spPr>
          <a:xfrm>
            <a:off x="0" y="1272222"/>
            <a:ext cx="7112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953774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2" r:id="rId2"/>
    <p:sldLayoutId id="2147484013" r:id="rId3"/>
    <p:sldLayoutId id="2147484014" r:id="rId4"/>
    <p:sldLayoutId id="2147484015" r:id="rId5"/>
    <p:sldLayoutId id="2147484016" r:id="rId6"/>
    <p:sldLayoutId id="2147484017" r:id="rId7"/>
    <p:sldLayoutId id="2147484018" r:id="rId8"/>
    <p:sldLayoutId id="2147484019" r:id="rId9"/>
    <p:sldLayoutId id="2147484020" r:id="rId10"/>
    <p:sldLayoutId id="2147484021" r:id="rId11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4400" b="1" kern="1200" baseline="0">
          <a:solidFill>
            <a:srgbClr val="0E457D"/>
          </a:solidFill>
          <a:latin typeface="Arial" panose="020B0604020202020204" pitchFamily="34" charset="0"/>
          <a:ea typeface="微軟正黑體" panose="020B0604030504040204" pitchFamily="34" charset="-120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2/12/20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2748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hemeOverride" Target="../theme/themeOverride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22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1.jpe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2.jpeg"/><Relationship Id="rId7" Type="http://schemas.openxmlformats.org/officeDocument/2006/relationships/image" Target="../media/image2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6.png"/><Relationship Id="rId5" Type="http://schemas.openxmlformats.org/officeDocument/2006/relationships/image" Target="../media/image20.jpeg"/><Relationship Id="rId4" Type="http://schemas.openxmlformats.org/officeDocument/2006/relationships/image" Target="../media/image23.jpeg"/><Relationship Id="rId9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media" Target="../media/media18.wav"/><Relationship Id="rId13" Type="http://schemas.openxmlformats.org/officeDocument/2006/relationships/image" Target="../media/image25.png"/><Relationship Id="rId18" Type="http://schemas.openxmlformats.org/officeDocument/2006/relationships/image" Target="../media/image35.tiff"/><Relationship Id="rId3" Type="http://schemas.microsoft.com/office/2007/relationships/media" Target="../media/media13.wav"/><Relationship Id="rId21" Type="http://schemas.openxmlformats.org/officeDocument/2006/relationships/image" Target="../media/image38.tiff"/><Relationship Id="rId7" Type="http://schemas.microsoft.com/office/2007/relationships/media" Target="../media/media17.wav"/><Relationship Id="rId12" Type="http://schemas.openxmlformats.org/officeDocument/2006/relationships/hyperlink" Target="file:///E:\Enhancement\our_data\08\120925_002.08" TargetMode="External"/><Relationship Id="rId17" Type="http://schemas.openxmlformats.org/officeDocument/2006/relationships/image" Target="../media/image34.tiff"/><Relationship Id="rId2" Type="http://schemas.microsoft.com/office/2007/relationships/media" Target="../media/media12.wav"/><Relationship Id="rId16" Type="http://schemas.openxmlformats.org/officeDocument/2006/relationships/image" Target="../media/image33.tiff"/><Relationship Id="rId20" Type="http://schemas.openxmlformats.org/officeDocument/2006/relationships/image" Target="../media/image37.tiff"/><Relationship Id="rId1" Type="http://schemas.openxmlformats.org/officeDocument/2006/relationships/audio" Target="NULL" TargetMode="External"/><Relationship Id="rId6" Type="http://schemas.microsoft.com/office/2007/relationships/media" Target="../media/media16.wav"/><Relationship Id="rId11" Type="http://schemas.openxmlformats.org/officeDocument/2006/relationships/notesSlide" Target="../notesSlides/notesSlide2.xml"/><Relationship Id="rId5" Type="http://schemas.microsoft.com/office/2007/relationships/media" Target="../media/media15.wav"/><Relationship Id="rId15" Type="http://schemas.openxmlformats.org/officeDocument/2006/relationships/image" Target="../media/image32.tiff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6.tiff"/><Relationship Id="rId4" Type="http://schemas.microsoft.com/office/2007/relationships/media" Target="../media/media14.wav"/><Relationship Id="rId9" Type="http://schemas.microsoft.com/office/2007/relationships/media" Target="../media/media19.wav"/><Relationship Id="rId14" Type="http://schemas.openxmlformats.org/officeDocument/2006/relationships/image" Target="../media/image31.png"/><Relationship Id="rId22" Type="http://schemas.openxmlformats.org/officeDocument/2006/relationships/image" Target="../media/image39.tif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hemeOverride" Target="../theme/themeOverride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hemeOverride" Target="../theme/themeOverride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microsoft.com/office/2007/relationships/media" Target="../media/media21.wav"/><Relationship Id="rId7" Type="http://schemas.openxmlformats.org/officeDocument/2006/relationships/slideLayout" Target="../slideLayouts/slideLayout10.xml"/><Relationship Id="rId2" Type="http://schemas.openxmlformats.org/officeDocument/2006/relationships/audio" Target="../media/media20.wav"/><Relationship Id="rId1" Type="http://schemas.microsoft.com/office/2007/relationships/media" Target="../media/media20.wav"/><Relationship Id="rId6" Type="http://schemas.openxmlformats.org/officeDocument/2006/relationships/audio" Target="../media/media22.wav"/><Relationship Id="rId5" Type="http://schemas.microsoft.com/office/2007/relationships/media" Target="../media/media22.wav"/><Relationship Id="rId4" Type="http://schemas.openxmlformats.org/officeDocument/2006/relationships/audio" Target="../media/media21.wav"/><Relationship Id="rId9" Type="http://schemas.openxmlformats.org/officeDocument/2006/relationships/image" Target="../media/image1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49.jpeg"/><Relationship Id="rId7" Type="http://schemas.openxmlformats.org/officeDocument/2006/relationships/image" Target="../media/image54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hemeOverride" Target="../theme/themeOverride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50.png"/><Relationship Id="rId4" Type="http://schemas.openxmlformats.org/officeDocument/2006/relationships/image" Target="../media/image6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2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EErkgr1MWw0" TargetMode="External"/><Relationship Id="rId2" Type="http://schemas.openxmlformats.org/officeDocument/2006/relationships/hyperlink" Target="https://www.facebook.com/ieeeSPS" TargetMode="Externa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reurl.cc/R1gbMz" TargetMode="External"/><Relationship Id="rId3" Type="http://schemas.openxmlformats.org/officeDocument/2006/relationships/hyperlink" Target="https://www.youtube.com/watch?v=AVXipc7W2Zc" TargetMode="External"/><Relationship Id="rId7" Type="http://schemas.openxmlformats.org/officeDocument/2006/relationships/hyperlink" Target="https://www.spearx-inc.com/collections/musicheadphones" TargetMode="External"/><Relationship Id="rId12" Type="http://schemas.openxmlformats.org/officeDocument/2006/relationships/hyperlink" Target="https://azure.microsoft.com/en-us/products/cognitive-services/speech-translation/" TargetMode="External"/><Relationship Id="rId2" Type="http://schemas.openxmlformats.org/officeDocument/2006/relationships/hyperlink" Target="https://www.youtube.com/watch?v=AVXipc7W2Zc&amp;t=2s&amp;ab_channel=OptoFidelity" TargetMode="Externa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igg.me/at/silentpartner/x#/" TargetMode="External"/><Relationship Id="rId11" Type="http://schemas.openxmlformats.org/officeDocument/2006/relationships/hyperlink" Target="https://www.youtube.com/watch?v=I3l4XLZ59iw&amp;t=68s&amp;ab_channel=AdobeCreativeCloud" TargetMode="External"/><Relationship Id="rId5" Type="http://schemas.openxmlformats.org/officeDocument/2006/relationships/hyperlink" Target="https://www.flyingv.cc/project/8936" TargetMode="External"/><Relationship Id="rId10" Type="http://schemas.openxmlformats.org/officeDocument/2006/relationships/hyperlink" Target="https://digilog.tw/posts/764" TargetMode="External"/><Relationship Id="rId4" Type="http://schemas.openxmlformats.org/officeDocument/2006/relationships/hyperlink" Target="http://www.sleepphones.com/SleepPhones-Wireless" TargetMode="External"/><Relationship Id="rId9" Type="http://schemas.openxmlformats.org/officeDocument/2006/relationships/hyperlink" Target="https://meater.com/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audio" Target="../media/media4.wav"/><Relationship Id="rId13" Type="http://schemas.microsoft.com/office/2007/relationships/media" Target="../media/media7.wav"/><Relationship Id="rId18" Type="http://schemas.openxmlformats.org/officeDocument/2006/relationships/audio" Target="../media/media9.wav"/><Relationship Id="rId26" Type="http://schemas.openxmlformats.org/officeDocument/2006/relationships/image" Target="../media/image6.png"/><Relationship Id="rId3" Type="http://schemas.microsoft.com/office/2007/relationships/media" Target="../media/media2.wav"/><Relationship Id="rId21" Type="http://schemas.microsoft.com/office/2007/relationships/media" Target="../media/media11.wav"/><Relationship Id="rId34" Type="http://schemas.openxmlformats.org/officeDocument/2006/relationships/image" Target="../media/image14.png"/><Relationship Id="rId7" Type="http://schemas.microsoft.com/office/2007/relationships/media" Target="../media/media4.wav"/><Relationship Id="rId12" Type="http://schemas.openxmlformats.org/officeDocument/2006/relationships/audio" Target="../media/media6.wav"/><Relationship Id="rId17" Type="http://schemas.microsoft.com/office/2007/relationships/media" Target="../media/media9.wav"/><Relationship Id="rId25" Type="http://schemas.openxmlformats.org/officeDocument/2006/relationships/image" Target="../media/image5.png"/><Relationship Id="rId33" Type="http://schemas.openxmlformats.org/officeDocument/2006/relationships/image" Target="../media/image13.png"/><Relationship Id="rId2" Type="http://schemas.openxmlformats.org/officeDocument/2006/relationships/audio" Target="../media/media1.wav"/><Relationship Id="rId16" Type="http://schemas.openxmlformats.org/officeDocument/2006/relationships/audio" Target="../media/media8.wav"/><Relationship Id="rId20" Type="http://schemas.openxmlformats.org/officeDocument/2006/relationships/audio" Target="../media/media10.wav"/><Relationship Id="rId29" Type="http://schemas.openxmlformats.org/officeDocument/2006/relationships/image" Target="../media/image9.png"/><Relationship Id="rId1" Type="http://schemas.microsoft.com/office/2007/relationships/media" Target="../media/media1.wav"/><Relationship Id="rId6" Type="http://schemas.openxmlformats.org/officeDocument/2006/relationships/audio" Target="../media/media3.wav"/><Relationship Id="rId11" Type="http://schemas.microsoft.com/office/2007/relationships/media" Target="../media/media6.wav"/><Relationship Id="rId24" Type="http://schemas.openxmlformats.org/officeDocument/2006/relationships/image" Target="../media/image4.png"/><Relationship Id="rId32" Type="http://schemas.openxmlformats.org/officeDocument/2006/relationships/image" Target="../media/image12.png"/><Relationship Id="rId5" Type="http://schemas.microsoft.com/office/2007/relationships/media" Target="../media/media3.wav"/><Relationship Id="rId15" Type="http://schemas.microsoft.com/office/2007/relationships/media" Target="../media/media8.wav"/><Relationship Id="rId23" Type="http://schemas.openxmlformats.org/officeDocument/2006/relationships/slideLayout" Target="../slideLayouts/slideLayout10.xml"/><Relationship Id="rId28" Type="http://schemas.openxmlformats.org/officeDocument/2006/relationships/image" Target="../media/image8.png"/><Relationship Id="rId10" Type="http://schemas.openxmlformats.org/officeDocument/2006/relationships/audio" Target="../media/media5.wav"/><Relationship Id="rId19" Type="http://schemas.microsoft.com/office/2007/relationships/media" Target="../media/media10.wav"/><Relationship Id="rId31" Type="http://schemas.openxmlformats.org/officeDocument/2006/relationships/image" Target="../media/image11.png"/><Relationship Id="rId4" Type="http://schemas.openxmlformats.org/officeDocument/2006/relationships/audio" Target="../media/media2.wav"/><Relationship Id="rId9" Type="http://schemas.microsoft.com/office/2007/relationships/media" Target="../media/media5.wav"/><Relationship Id="rId14" Type="http://schemas.openxmlformats.org/officeDocument/2006/relationships/audio" Target="../media/media7.wav"/><Relationship Id="rId22" Type="http://schemas.openxmlformats.org/officeDocument/2006/relationships/audio" Target="../media/media11.wav"/><Relationship Id="rId27" Type="http://schemas.openxmlformats.org/officeDocument/2006/relationships/image" Target="../media/image7.png"/><Relationship Id="rId30" Type="http://schemas.openxmlformats.org/officeDocument/2006/relationships/image" Target="../media/image10.png"/><Relationship Id="rId35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83699" y="1835871"/>
            <a:ext cx="5470981" cy="159313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2400"/>
              </a:spcBef>
            </a:pP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數位信號處理實驗</a:t>
            </a:r>
            <a:b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en-US" altLang="zh-TW" dirty="0"/>
              <a:t>(DSP)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567127" y="4268214"/>
            <a:ext cx="2552062" cy="456930"/>
          </a:xfrm>
        </p:spPr>
        <p:txBody>
          <a:bodyPr/>
          <a:lstStyle/>
          <a:p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電機系 方士豪 教授</a:t>
            </a:r>
            <a:endParaRPr lang="en-US" altLang="zh-CN" sz="20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" name="副标题 4"/>
          <p:cNvSpPr>
            <a:spLocks noGrp="1"/>
          </p:cNvSpPr>
          <p:nvPr>
            <p:ph type="subTitle" idx="1"/>
          </p:nvPr>
        </p:nvSpPr>
        <p:spPr>
          <a:xfrm>
            <a:off x="1383699" y="3435346"/>
            <a:ext cx="5844994" cy="425702"/>
          </a:xfrm>
        </p:spPr>
        <p:txBody>
          <a:bodyPr>
            <a:normAutofit/>
          </a:bodyPr>
          <a:lstStyle/>
          <a:p>
            <a:r>
              <a:rPr lang="en-US" altLang="zh-TW" b="1" u="heavy" dirty="0">
                <a:solidFill>
                  <a:srgbClr val="CE4C4B"/>
                </a:solidFill>
              </a:rPr>
              <a:t>DSP</a:t>
            </a:r>
            <a:r>
              <a:rPr lang="zh-TW" altLang="en-US" b="1" u="heavy" dirty="0">
                <a:solidFill>
                  <a:srgbClr val="CE4C4B"/>
                </a:solidFill>
              </a:rPr>
              <a:t>專題二</a:t>
            </a:r>
            <a:r>
              <a:rPr lang="en-US" altLang="zh-TW" b="1" u="heavy" dirty="0">
                <a:solidFill>
                  <a:srgbClr val="CE4C4B"/>
                </a:solidFill>
              </a:rPr>
              <a:t> (1/2)</a:t>
            </a:r>
            <a:endParaRPr lang="en-US" altLang="zh-CN" b="1" u="heavy" dirty="0">
              <a:solidFill>
                <a:srgbClr val="CE4C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1293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Our Recent Achievements</a:t>
            </a:r>
            <a:endParaRPr lang="zh-TW" altLang="en-US" dirty="0"/>
          </a:p>
        </p:txBody>
      </p:sp>
      <p:sp>
        <p:nvSpPr>
          <p:cNvPr id="4" name="Text Placeholder 3"/>
          <p:cNvSpPr txBox="1">
            <a:spLocks/>
          </p:cNvSpPr>
          <p:nvPr/>
        </p:nvSpPr>
        <p:spPr>
          <a:xfrm>
            <a:off x="1683251" y="1746242"/>
            <a:ext cx="10423238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Acoustic Echo Cancellation Using a Vector-Space-Based Adaptive Filtering Algorithm</a:t>
            </a:r>
          </a:p>
        </p:txBody>
      </p:sp>
      <p:sp>
        <p:nvSpPr>
          <p:cNvPr id="5" name="Oval 77"/>
          <p:cNvSpPr>
            <a:spLocks noChangeArrowheads="1"/>
          </p:cNvSpPr>
          <p:nvPr/>
        </p:nvSpPr>
        <p:spPr bwMode="auto">
          <a:xfrm>
            <a:off x="1007630" y="1751348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8" name="Freeform 359"/>
          <p:cNvSpPr>
            <a:spLocks noChangeAspect="1"/>
          </p:cNvSpPr>
          <p:nvPr/>
        </p:nvSpPr>
        <p:spPr>
          <a:xfrm>
            <a:off x="1271464" y="2284662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4" name="Text Placeholder 3"/>
          <p:cNvSpPr txBox="1">
            <a:spLocks/>
          </p:cNvSpPr>
          <p:nvPr/>
        </p:nvSpPr>
        <p:spPr>
          <a:xfrm>
            <a:off x="1740246" y="2282924"/>
            <a:ext cx="1465145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Mater thesis </a:t>
            </a:r>
          </a:p>
        </p:txBody>
      </p:sp>
      <p:sp>
        <p:nvSpPr>
          <p:cNvPr id="25" name="Freeform 359"/>
          <p:cNvSpPr>
            <a:spLocks noChangeAspect="1"/>
          </p:cNvSpPr>
          <p:nvPr/>
        </p:nvSpPr>
        <p:spPr>
          <a:xfrm>
            <a:off x="1271464" y="2812352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 Placeholder 3"/>
          <p:cNvSpPr txBox="1">
            <a:spLocks/>
          </p:cNvSpPr>
          <p:nvPr/>
        </p:nvSpPr>
        <p:spPr>
          <a:xfrm>
            <a:off x="1740245" y="2806960"/>
            <a:ext cx="1015018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IEEE Signal Processing Letters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, March, 2015 </a:t>
            </a:r>
            <a:r>
              <a:rPr kumimoji="0" lang="en-US" altLang="zh-TW" sz="2000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The best short journal for signal processing)</a:t>
            </a:r>
          </a:p>
        </p:txBody>
      </p:sp>
      <p:sp>
        <p:nvSpPr>
          <p:cNvPr id="27" name="Freeform 359"/>
          <p:cNvSpPr>
            <a:spLocks noChangeAspect="1"/>
          </p:cNvSpPr>
          <p:nvPr/>
        </p:nvSpPr>
        <p:spPr>
          <a:xfrm>
            <a:off x="1271464" y="3336903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 Placeholder 3"/>
          <p:cNvSpPr txBox="1">
            <a:spLocks/>
          </p:cNvSpPr>
          <p:nvPr/>
        </p:nvSpPr>
        <p:spPr>
          <a:xfrm>
            <a:off x="1740246" y="3330996"/>
            <a:ext cx="10332386" cy="92333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40th IEEE International Conference on Acoustics, Speech and Signal Processing (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ICASSP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), Brisbane, Queensland, 19th – 24th April 2015.</a:t>
            </a:r>
            <a:b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</a:br>
            <a:r>
              <a:rPr kumimoji="0" lang="en-US" altLang="zh-TW" sz="2000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The best international conference for signal processing)</a:t>
            </a:r>
          </a:p>
        </p:txBody>
      </p:sp>
      <p:sp>
        <p:nvSpPr>
          <p:cNvPr id="29" name="Freeform 359"/>
          <p:cNvSpPr>
            <a:spLocks noChangeAspect="1"/>
          </p:cNvSpPr>
          <p:nvPr/>
        </p:nvSpPr>
        <p:spPr>
          <a:xfrm>
            <a:off x="1271464" y="4420268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 Placeholder 3"/>
          <p:cNvSpPr txBox="1">
            <a:spLocks/>
          </p:cNvSpPr>
          <p:nvPr/>
        </p:nvSpPr>
        <p:spPr>
          <a:xfrm>
            <a:off x="1740246" y="4417367"/>
            <a:ext cx="7884114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Taiwan/USA patents</a:t>
            </a:r>
          </a:p>
        </p:txBody>
      </p:sp>
    </p:spTree>
    <p:extLst>
      <p:ext uri="{BB962C8B-B14F-4D97-AF65-F5344CB8AC3E}">
        <p14:creationId xmlns:p14="http://schemas.microsoft.com/office/powerpoint/2010/main" val="30143523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24440" y="2701326"/>
            <a:ext cx="5419185" cy="727674"/>
          </a:xfrm>
        </p:spPr>
        <p:txBody>
          <a:bodyPr>
            <a:noAutofit/>
          </a:bodyPr>
          <a:lstStyle/>
          <a:p>
            <a:r>
              <a:rPr lang="en-US" altLang="zh-CN" sz="4400" dirty="0"/>
              <a:t>NOISE</a:t>
            </a:r>
            <a:endParaRPr lang="zh-CN" altLang="en-US" sz="4400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6FFC11D-3423-45DD-9BC2-44A308075CFB}"/>
              </a:ext>
            </a:extLst>
          </p:cNvPr>
          <p:cNvSpPr txBox="1"/>
          <p:nvPr/>
        </p:nvSpPr>
        <p:spPr>
          <a:xfrm>
            <a:off x="3316529" y="1562028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12529F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01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12529F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8488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/>
              <a:t>Introduction</a:t>
            </a:r>
            <a:endParaRPr lang="zh-TW" altLang="en-US" sz="5400" dirty="0"/>
          </a:p>
        </p:txBody>
      </p:sp>
      <p:sp>
        <p:nvSpPr>
          <p:cNvPr id="17" name="橢圓 16"/>
          <p:cNvSpPr/>
          <p:nvPr/>
        </p:nvSpPr>
        <p:spPr>
          <a:xfrm>
            <a:off x="5427551" y="2258262"/>
            <a:ext cx="576064" cy="576064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2800" dirty="0"/>
              <a:t>+</a:t>
            </a:r>
            <a:endParaRPr lang="zh-TW" altLang="en-US" sz="2800" dirty="0"/>
          </a:p>
        </p:txBody>
      </p:sp>
      <p:cxnSp>
        <p:nvCxnSpPr>
          <p:cNvPr id="18" name="直線單箭頭接點 17"/>
          <p:cNvCxnSpPr>
            <a:endCxn id="17" idx="2"/>
          </p:cNvCxnSpPr>
          <p:nvPr/>
        </p:nvCxnSpPr>
        <p:spPr>
          <a:xfrm>
            <a:off x="4131407" y="2546294"/>
            <a:ext cx="1296144" cy="0"/>
          </a:xfrm>
          <a:prstGeom prst="straightConnector1">
            <a:avLst/>
          </a:prstGeom>
          <a:ln w="349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線單箭頭接點 18"/>
          <p:cNvCxnSpPr>
            <a:endCxn id="17" idx="4"/>
          </p:cNvCxnSpPr>
          <p:nvPr/>
        </p:nvCxnSpPr>
        <p:spPr>
          <a:xfrm flipV="1">
            <a:off x="5715583" y="2834326"/>
            <a:ext cx="0" cy="1152128"/>
          </a:xfrm>
          <a:prstGeom prst="straightConnector1">
            <a:avLst/>
          </a:prstGeom>
          <a:ln w="349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線單箭頭接點 19"/>
          <p:cNvCxnSpPr>
            <a:stCxn id="17" idx="6"/>
          </p:cNvCxnSpPr>
          <p:nvPr/>
        </p:nvCxnSpPr>
        <p:spPr>
          <a:xfrm>
            <a:off x="6003615" y="2546294"/>
            <a:ext cx="1800200" cy="0"/>
          </a:xfrm>
          <a:prstGeom prst="straightConnector1">
            <a:avLst/>
          </a:prstGeom>
          <a:ln w="349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文字方塊 20"/>
              <p:cNvSpPr txBox="1"/>
              <p:nvPr/>
            </p:nvSpPr>
            <p:spPr>
              <a:xfrm>
                <a:off x="6939719" y="2108075"/>
                <a:ext cx="72008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i="1">
                          <a:latin typeface="Cambria Math"/>
                        </a:rPr>
                        <m:t>𝑦</m:t>
                      </m:r>
                      <m:r>
                        <a:rPr lang="en-US" altLang="zh-TW" i="1">
                          <a:latin typeface="Cambria Math"/>
                        </a:rPr>
                        <m:t>[</m:t>
                      </m:r>
                      <m:r>
                        <a:rPr lang="en-US" altLang="zh-TW" i="1">
                          <a:latin typeface="Cambria Math"/>
                        </a:rPr>
                        <m:t>𝑛</m:t>
                      </m:r>
                      <m:r>
                        <a:rPr lang="en-US" altLang="zh-TW" i="1">
                          <a:latin typeface="Cambria Math"/>
                        </a:rPr>
                        <m:t>]</m:t>
                      </m:r>
                    </m:oMath>
                  </m:oMathPara>
                </a14:m>
                <a:endParaRPr lang="zh-TW" altLang="en-US" dirty="0"/>
              </a:p>
            </p:txBody>
          </p:sp>
        </mc:Choice>
        <mc:Fallback xmlns="">
          <p:sp>
            <p:nvSpPr>
              <p:cNvPr id="21" name="文字方塊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39719" y="2108075"/>
                <a:ext cx="720080" cy="461665"/>
              </a:xfrm>
              <a:prstGeom prst="rect">
                <a:avLst/>
              </a:prstGeom>
              <a:blipFill>
                <a:blip r:embed="rId2"/>
                <a:stretch>
                  <a:fillRect l="-2521" r="-11765" b="-18421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2" name="Picture 3" descr="E:\Enhancement\data\clea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1167" y="1901343"/>
            <a:ext cx="1889392" cy="1018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3" name="文字方塊 22"/>
              <p:cNvSpPr txBox="1"/>
              <p:nvPr/>
            </p:nvSpPr>
            <p:spPr>
              <a:xfrm>
                <a:off x="4059399" y="2045359"/>
                <a:ext cx="50405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i="1">
                          <a:latin typeface="Cambria Math"/>
                        </a:rPr>
                        <m:t>𝑠</m:t>
                      </m:r>
                      <m:r>
                        <a:rPr lang="en-US" altLang="zh-TW" i="1">
                          <a:latin typeface="Cambria Math"/>
                        </a:rPr>
                        <m:t>[</m:t>
                      </m:r>
                      <m:r>
                        <a:rPr lang="en-US" altLang="zh-TW" i="1">
                          <a:latin typeface="Cambria Math"/>
                        </a:rPr>
                        <m:t>𝑛</m:t>
                      </m:r>
                      <m:r>
                        <a:rPr lang="en-US" altLang="zh-TW" i="1">
                          <a:latin typeface="Cambria Math"/>
                        </a:rPr>
                        <m:t>]</m:t>
                      </m:r>
                    </m:oMath>
                  </m:oMathPara>
                </a14:m>
                <a:endParaRPr lang="zh-TW" altLang="en-US" dirty="0"/>
              </a:p>
            </p:txBody>
          </p:sp>
        </mc:Choice>
        <mc:Fallback xmlns="">
          <p:sp>
            <p:nvSpPr>
              <p:cNvPr id="23" name="文字方塊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59399" y="2045359"/>
                <a:ext cx="504056" cy="461665"/>
              </a:xfrm>
              <a:prstGeom prst="rect">
                <a:avLst/>
              </a:prstGeom>
              <a:blipFill>
                <a:blip r:embed="rId4"/>
                <a:stretch>
                  <a:fillRect r="-53012" b="-20000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文字方塊 23"/>
          <p:cNvSpPr txBox="1"/>
          <p:nvPr/>
        </p:nvSpPr>
        <p:spPr>
          <a:xfrm>
            <a:off x="2639616" y="3041059"/>
            <a:ext cx="108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b="1" dirty="0">
                <a:latin typeface="+mn-lt"/>
                <a:ea typeface="Arial Unicode MS" pitchFamily="34" charset="-120"/>
                <a:cs typeface="Arial Unicode MS" pitchFamily="34" charset="-120"/>
              </a:rPr>
              <a:t>clean</a:t>
            </a:r>
            <a:endParaRPr lang="zh-TW" altLang="en-US" b="1" dirty="0">
              <a:latin typeface="+mn-lt"/>
              <a:ea typeface="Arial Unicode MS" pitchFamily="34" charset="-120"/>
              <a:cs typeface="Arial Unicode MS" pitchFamily="34" charset="-12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文字方塊 24"/>
              <p:cNvSpPr txBox="1"/>
              <p:nvPr/>
            </p:nvSpPr>
            <p:spPr>
              <a:xfrm>
                <a:off x="5922184" y="3430389"/>
                <a:ext cx="72008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i="1">
                          <a:latin typeface="Cambria Math"/>
                        </a:rPr>
                        <m:t>𝑣</m:t>
                      </m:r>
                      <m:r>
                        <a:rPr lang="en-US" altLang="zh-TW" i="1">
                          <a:latin typeface="Cambria Math"/>
                        </a:rPr>
                        <m:t>[</m:t>
                      </m:r>
                      <m:r>
                        <a:rPr lang="en-US" altLang="zh-TW" i="1">
                          <a:latin typeface="Cambria Math"/>
                        </a:rPr>
                        <m:t>𝑛</m:t>
                      </m:r>
                      <m:r>
                        <a:rPr lang="en-US" altLang="zh-TW" i="1">
                          <a:latin typeface="Cambria Math"/>
                        </a:rPr>
                        <m:t>]</m:t>
                      </m:r>
                    </m:oMath>
                  </m:oMathPara>
                </a14:m>
                <a:endParaRPr lang="zh-TW" altLang="en-US" dirty="0"/>
              </a:p>
            </p:txBody>
          </p:sp>
        </mc:Choice>
        <mc:Fallback xmlns="">
          <p:sp>
            <p:nvSpPr>
              <p:cNvPr id="25" name="文字方塊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22184" y="3430389"/>
                <a:ext cx="720080" cy="461665"/>
              </a:xfrm>
              <a:prstGeom prst="rect">
                <a:avLst/>
              </a:prstGeom>
              <a:blipFill>
                <a:blip r:embed="rId5"/>
                <a:stretch>
                  <a:fillRect r="-11765" b="-20000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" name="文字方塊 25"/>
          <p:cNvSpPr txBox="1"/>
          <p:nvPr/>
        </p:nvSpPr>
        <p:spPr>
          <a:xfrm>
            <a:off x="8903974" y="2871665"/>
            <a:ext cx="1008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b="1" dirty="0">
                <a:latin typeface="+mn-lt"/>
                <a:ea typeface="Arial Unicode MS" pitchFamily="34" charset="-120"/>
                <a:cs typeface="Arial Unicode MS" pitchFamily="34" charset="-120"/>
              </a:rPr>
              <a:t>noisy</a:t>
            </a:r>
            <a:endParaRPr lang="zh-TW" altLang="en-US" b="1" dirty="0">
              <a:latin typeface="+mn-lt"/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27" name="文字方塊 26"/>
          <p:cNvSpPr txBox="1"/>
          <p:nvPr/>
        </p:nvSpPr>
        <p:spPr>
          <a:xfrm>
            <a:off x="5427550" y="4933035"/>
            <a:ext cx="10284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b="1" dirty="0">
                <a:latin typeface="+mn-lt"/>
                <a:ea typeface="Arial Unicode MS" pitchFamily="34" charset="-120"/>
                <a:cs typeface="Arial Unicode MS" pitchFamily="34" charset="-120"/>
              </a:rPr>
              <a:t>noise</a:t>
            </a:r>
            <a:endParaRPr lang="zh-TW" altLang="en-US" b="1" dirty="0">
              <a:latin typeface="+mn-lt"/>
              <a:ea typeface="Arial Unicode MS" pitchFamily="34" charset="-120"/>
              <a:cs typeface="Arial Unicode MS" pitchFamily="34" charset="-120"/>
            </a:endParaRPr>
          </a:p>
        </p:txBody>
      </p:sp>
      <p:pic>
        <p:nvPicPr>
          <p:cNvPr id="28" name="Picture 4" descr="E:\Enhancement\data\nois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1866" y="4094660"/>
            <a:ext cx="2449057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5" descr="E:\Enhancement\data\noisy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0216" y="2055146"/>
            <a:ext cx="2344336" cy="731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34303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/>
              <a:t>Introduction</a:t>
            </a:r>
            <a:endParaRPr lang="zh-TW" altLang="en-US" dirty="0"/>
          </a:p>
        </p:txBody>
      </p:sp>
      <p:sp>
        <p:nvSpPr>
          <p:cNvPr id="13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958478" y="1691516"/>
            <a:ext cx="4599016" cy="36933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algn="l">
              <a:spcBef>
                <a:spcPts val="700"/>
              </a:spcBef>
              <a:buClr>
                <a:srgbClr val="DD8047"/>
              </a:buClr>
              <a:buSzPct val="60000"/>
              <a:defRPr/>
            </a:pPr>
            <a:r>
              <a:rPr lang="en-US" altLang="zh-TW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+mj-ea"/>
              </a:rPr>
              <a:t>What is speech enhancement!?</a:t>
            </a:r>
          </a:p>
        </p:txBody>
      </p:sp>
      <p:sp>
        <p:nvSpPr>
          <p:cNvPr id="21" name="Text Placeholder 3"/>
          <p:cNvSpPr txBox="1">
            <a:spLocks/>
          </p:cNvSpPr>
          <p:nvPr/>
        </p:nvSpPr>
        <p:spPr>
          <a:xfrm>
            <a:off x="1683251" y="2361076"/>
            <a:ext cx="2095125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Noise Reduction.</a:t>
            </a:r>
          </a:p>
        </p:txBody>
      </p:sp>
      <p:sp>
        <p:nvSpPr>
          <p:cNvPr id="22" name="Oval 77"/>
          <p:cNvSpPr>
            <a:spLocks noChangeArrowheads="1"/>
          </p:cNvSpPr>
          <p:nvPr/>
        </p:nvSpPr>
        <p:spPr bwMode="auto">
          <a:xfrm>
            <a:off x="1007630" y="2366182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23" name="Freeform 359"/>
          <p:cNvSpPr>
            <a:spLocks noChangeAspect="1"/>
          </p:cNvSpPr>
          <p:nvPr/>
        </p:nvSpPr>
        <p:spPr>
          <a:xfrm>
            <a:off x="1271464" y="2899496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 Placeholder 3"/>
          <p:cNvSpPr txBox="1">
            <a:spLocks/>
          </p:cNvSpPr>
          <p:nvPr/>
        </p:nvSpPr>
        <p:spPr>
          <a:xfrm>
            <a:off x="1740246" y="2897758"/>
            <a:ext cx="3717813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To reduce the background noise.</a:t>
            </a:r>
          </a:p>
        </p:txBody>
      </p:sp>
      <p:sp>
        <p:nvSpPr>
          <p:cNvPr id="25" name="Freeform 359"/>
          <p:cNvSpPr>
            <a:spLocks noChangeAspect="1"/>
          </p:cNvSpPr>
          <p:nvPr/>
        </p:nvSpPr>
        <p:spPr>
          <a:xfrm>
            <a:off x="1271464" y="3427186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 Placeholder 3"/>
          <p:cNvSpPr txBox="1">
            <a:spLocks/>
          </p:cNvSpPr>
          <p:nvPr/>
        </p:nvSpPr>
        <p:spPr>
          <a:xfrm>
            <a:off x="1740245" y="3421794"/>
            <a:ext cx="1015018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Keeping the speech distortion as low as possible.</a:t>
            </a:r>
          </a:p>
        </p:txBody>
      </p:sp>
      <p:sp>
        <p:nvSpPr>
          <p:cNvPr id="27" name="Freeform 359"/>
          <p:cNvSpPr>
            <a:spLocks noChangeAspect="1"/>
          </p:cNvSpPr>
          <p:nvPr/>
        </p:nvSpPr>
        <p:spPr>
          <a:xfrm>
            <a:off x="1271464" y="3951737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 Placeholder 3"/>
          <p:cNvSpPr txBox="1">
            <a:spLocks/>
          </p:cNvSpPr>
          <p:nvPr/>
        </p:nvSpPr>
        <p:spPr>
          <a:xfrm>
            <a:off x="1740245" y="3951737"/>
            <a:ext cx="10332386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Using as a pre-processer to enhance the performance in other speech processing systems.</a:t>
            </a:r>
          </a:p>
        </p:txBody>
      </p:sp>
      <p:sp>
        <p:nvSpPr>
          <p:cNvPr id="29" name="矩形 28"/>
          <p:cNvSpPr/>
          <p:nvPr/>
        </p:nvSpPr>
        <p:spPr>
          <a:xfrm>
            <a:off x="2609291" y="4618260"/>
            <a:ext cx="1800200" cy="898972"/>
          </a:xfrm>
          <a:prstGeom prst="rect">
            <a:avLst/>
          </a:prstGeom>
          <a:solidFill>
            <a:srgbClr val="7F7F7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Speech Enhancement System</a:t>
            </a:r>
            <a:endParaRPr kumimoji="0" lang="zh-TW" alt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Unicode MS" pitchFamily="34" charset="-120"/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6312024" y="4527686"/>
            <a:ext cx="1800000" cy="973236"/>
          </a:xfrm>
          <a:prstGeom prst="rect">
            <a:avLst/>
          </a:prstGeom>
          <a:solidFill>
            <a:srgbClr val="7F7F7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Speech Processing Systems</a:t>
            </a:r>
            <a:endParaRPr kumimoji="0" lang="zh-TW" alt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Unicode MS" pitchFamily="34" charset="-120"/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34" name="橢圓 33"/>
          <p:cNvSpPr/>
          <p:nvPr/>
        </p:nvSpPr>
        <p:spPr>
          <a:xfrm>
            <a:off x="4409491" y="5441328"/>
            <a:ext cx="1775765" cy="914571"/>
          </a:xfrm>
          <a:prstGeom prst="ellipse">
            <a:avLst/>
          </a:prstGeom>
          <a:solidFill>
            <a:srgbClr val="12529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Enhanced Speech</a:t>
            </a:r>
            <a:endParaRPr kumimoji="0" lang="zh-TW" alt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Unicode MS" pitchFamily="34" charset="-120"/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35" name="橢圓 34"/>
          <p:cNvSpPr/>
          <p:nvPr/>
        </p:nvSpPr>
        <p:spPr>
          <a:xfrm>
            <a:off x="784518" y="5425241"/>
            <a:ext cx="1774800" cy="914400"/>
          </a:xfrm>
          <a:prstGeom prst="ellipse">
            <a:avLst/>
          </a:prstGeom>
          <a:solidFill>
            <a:srgbClr val="12529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Noisy Speech</a:t>
            </a:r>
            <a:endParaRPr kumimoji="0" lang="zh-TW" alt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Unicode MS" pitchFamily="34" charset="-120"/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36" name="橢圓 35"/>
          <p:cNvSpPr/>
          <p:nvPr/>
        </p:nvSpPr>
        <p:spPr>
          <a:xfrm>
            <a:off x="8976320" y="4979460"/>
            <a:ext cx="3167155" cy="1759007"/>
          </a:xfrm>
          <a:prstGeom prst="ellipse">
            <a:avLst/>
          </a:prstGeom>
          <a:solidFill>
            <a:srgbClr val="12529F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zh-TW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Speech coder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zh-TW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Speech recognize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zh-TW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Speaker recognize</a:t>
            </a:r>
            <a:endParaRPr kumimoji="0" lang="zh-TW" alt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Unicode MS" pitchFamily="34" charset="-120"/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44" name="ïşļíďè">
            <a:extLst>
              <a:ext uri="{FF2B5EF4-FFF2-40B4-BE49-F238E27FC236}">
                <a16:creationId xmlns:a16="http://schemas.microsoft.com/office/drawing/2014/main" id="{BE83DB3D-E0BC-4CD9-B5D5-104A100E8F71}"/>
              </a:ext>
            </a:extLst>
          </p:cNvPr>
          <p:cNvSpPr/>
          <p:nvPr/>
        </p:nvSpPr>
        <p:spPr>
          <a:xfrm>
            <a:off x="899933" y="4775000"/>
            <a:ext cx="1634400" cy="540000"/>
          </a:xfrm>
          <a:prstGeom prst="rightArrow">
            <a:avLst/>
          </a:prstGeom>
          <a:gradFill flip="none" rotWithShape="1">
            <a:gsLst>
              <a:gs pos="0">
                <a:srgbClr val="12529F">
                  <a:lumMod val="85000"/>
                </a:srgbClr>
              </a:gs>
              <a:gs pos="100000">
                <a:srgbClr val="12529F">
                  <a:lumMod val="85000"/>
                  <a:alpha val="0"/>
                </a:srgbClr>
              </a:gs>
            </a:gsLst>
            <a:lin ang="10800000" scaled="1"/>
            <a:tileRect/>
          </a:gradFill>
          <a:ln w="317500" cap="flat" cmpd="sng" algn="ctr">
            <a:noFill/>
            <a:prstDash val="solid"/>
            <a:miter lim="800000"/>
            <a:headEnd type="triangle" w="sm" len="sm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45" name="ïşļíďè">
            <a:extLst>
              <a:ext uri="{FF2B5EF4-FFF2-40B4-BE49-F238E27FC236}">
                <a16:creationId xmlns:a16="http://schemas.microsoft.com/office/drawing/2014/main" id="{BE83DB3D-E0BC-4CD9-B5D5-104A100E8F71}"/>
              </a:ext>
            </a:extLst>
          </p:cNvPr>
          <p:cNvSpPr/>
          <p:nvPr/>
        </p:nvSpPr>
        <p:spPr>
          <a:xfrm>
            <a:off x="4519686" y="4775000"/>
            <a:ext cx="1634400" cy="540000"/>
          </a:xfrm>
          <a:prstGeom prst="rightArrow">
            <a:avLst/>
          </a:prstGeom>
          <a:gradFill flip="none" rotWithShape="1">
            <a:gsLst>
              <a:gs pos="0">
                <a:srgbClr val="12529F">
                  <a:lumMod val="85000"/>
                </a:srgbClr>
              </a:gs>
              <a:gs pos="100000">
                <a:srgbClr val="12529F">
                  <a:lumMod val="85000"/>
                  <a:alpha val="0"/>
                </a:srgbClr>
              </a:gs>
            </a:gsLst>
            <a:lin ang="10800000" scaled="1"/>
            <a:tileRect/>
          </a:gradFill>
          <a:ln w="317500" cap="flat" cmpd="sng" algn="ctr">
            <a:noFill/>
            <a:prstDash val="solid"/>
            <a:miter lim="800000"/>
            <a:headEnd type="triangle" w="sm" len="sm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46" name="ïşļíďè">
            <a:extLst>
              <a:ext uri="{FF2B5EF4-FFF2-40B4-BE49-F238E27FC236}">
                <a16:creationId xmlns:a16="http://schemas.microsoft.com/office/drawing/2014/main" id="{BE83DB3D-E0BC-4CD9-B5D5-104A100E8F71}"/>
              </a:ext>
            </a:extLst>
          </p:cNvPr>
          <p:cNvSpPr/>
          <p:nvPr/>
        </p:nvSpPr>
        <p:spPr>
          <a:xfrm>
            <a:off x="8214324" y="4653136"/>
            <a:ext cx="900000" cy="540000"/>
          </a:xfrm>
          <a:prstGeom prst="rightArrow">
            <a:avLst/>
          </a:prstGeom>
          <a:gradFill flip="none" rotWithShape="1">
            <a:gsLst>
              <a:gs pos="0">
                <a:srgbClr val="12529F">
                  <a:lumMod val="85000"/>
                </a:srgbClr>
              </a:gs>
              <a:gs pos="100000">
                <a:srgbClr val="12529F">
                  <a:lumMod val="85000"/>
                  <a:alpha val="0"/>
                </a:srgbClr>
              </a:gs>
            </a:gsLst>
            <a:lin ang="10800000" scaled="1"/>
            <a:tileRect/>
          </a:gradFill>
          <a:ln w="317500" cap="flat" cmpd="sng" algn="ctr">
            <a:noFill/>
            <a:prstDash val="solid"/>
            <a:miter lim="800000"/>
            <a:headEnd type="triangle" w="sm" len="sm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47" name="ïşļíďè">
            <a:extLst>
              <a:ext uri="{FF2B5EF4-FFF2-40B4-BE49-F238E27FC236}">
                <a16:creationId xmlns:a16="http://schemas.microsoft.com/office/drawing/2014/main" id="{BE83DB3D-E0BC-4CD9-B5D5-104A100E8F71}"/>
              </a:ext>
            </a:extLst>
          </p:cNvPr>
          <p:cNvSpPr/>
          <p:nvPr/>
        </p:nvSpPr>
        <p:spPr>
          <a:xfrm rot="1511603">
            <a:off x="8094172" y="5263795"/>
            <a:ext cx="900000" cy="540000"/>
          </a:xfrm>
          <a:prstGeom prst="rightArrow">
            <a:avLst/>
          </a:prstGeom>
          <a:gradFill flip="none" rotWithShape="1">
            <a:gsLst>
              <a:gs pos="0">
                <a:srgbClr val="12529F">
                  <a:lumMod val="85000"/>
                </a:srgbClr>
              </a:gs>
              <a:gs pos="100000">
                <a:srgbClr val="12529F">
                  <a:lumMod val="85000"/>
                  <a:alpha val="0"/>
                </a:srgbClr>
              </a:gs>
            </a:gsLst>
            <a:lin ang="10800000" scaled="1"/>
            <a:tileRect/>
          </a:gradFill>
          <a:ln w="317500" cap="flat" cmpd="sng" algn="ctr">
            <a:noFill/>
            <a:prstDash val="solid"/>
            <a:miter lim="800000"/>
            <a:headEnd type="triangle" w="sm" len="sm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8223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4" grpId="0" animBg="1"/>
      <p:bldP spid="35" grpId="0" animBg="1"/>
      <p:bldP spid="3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/>
              <a:t>Introduction</a:t>
            </a:r>
            <a:endParaRPr lang="zh-TW" altLang="en-US" dirty="0"/>
          </a:p>
        </p:txBody>
      </p:sp>
      <p:sp>
        <p:nvSpPr>
          <p:cNvPr id="4" name="矩形 3"/>
          <p:cNvSpPr/>
          <p:nvPr/>
        </p:nvSpPr>
        <p:spPr>
          <a:xfrm>
            <a:off x="3647728" y="1628800"/>
            <a:ext cx="4212468" cy="762989"/>
          </a:xfrm>
          <a:prstGeom prst="rect">
            <a:avLst/>
          </a:prstGeom>
          <a:solidFill>
            <a:srgbClr val="125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dirty="0"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Speech Enhancement System</a:t>
            </a:r>
            <a:endParaRPr lang="zh-TW" altLang="en-US" dirty="0">
              <a:latin typeface="Arial Unicode MS" pitchFamily="34" charset="-120"/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977924" y="3544921"/>
            <a:ext cx="2880000" cy="1008112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2000" dirty="0"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Filtering Techniques</a:t>
            </a:r>
            <a:endParaRPr lang="zh-TW" altLang="en-US" sz="2000" dirty="0">
              <a:latin typeface="Arial Unicode MS" pitchFamily="34" charset="-120"/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4434308" y="3528153"/>
            <a:ext cx="2880000" cy="102488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2000" dirty="0"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Spectral Restoration</a:t>
            </a:r>
            <a:endParaRPr lang="zh-TW" altLang="en-US" sz="2000" dirty="0">
              <a:latin typeface="Arial Unicode MS" pitchFamily="34" charset="-120"/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968528" y="3528153"/>
            <a:ext cx="2880000" cy="1008112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2000" dirty="0"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Model-based Methods</a:t>
            </a:r>
            <a:endParaRPr lang="zh-TW" altLang="en-US" sz="2000" dirty="0">
              <a:latin typeface="Arial Unicode MS" pitchFamily="34" charset="-120"/>
              <a:ea typeface="Arial Unicode MS" pitchFamily="34" charset="-120"/>
              <a:cs typeface="Arial Unicode MS" pitchFamily="34" charset="-120"/>
            </a:endParaRPr>
          </a:p>
        </p:txBody>
      </p:sp>
      <p:cxnSp>
        <p:nvCxnSpPr>
          <p:cNvPr id="8" name="肘形接點 7"/>
          <p:cNvCxnSpPr/>
          <p:nvPr/>
        </p:nvCxnSpPr>
        <p:spPr>
          <a:xfrm>
            <a:off x="5807968" y="2984665"/>
            <a:ext cx="3708000" cy="543488"/>
          </a:xfrm>
          <a:prstGeom prst="bentConnector2">
            <a:avLst/>
          </a:prstGeom>
          <a:ln w="25400">
            <a:solidFill>
              <a:srgbClr val="AFAFA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肘形接點 8"/>
          <p:cNvCxnSpPr/>
          <p:nvPr/>
        </p:nvCxnSpPr>
        <p:spPr>
          <a:xfrm rot="10800000" flipV="1">
            <a:off x="2459968" y="2984665"/>
            <a:ext cx="3348000" cy="560256"/>
          </a:xfrm>
          <a:prstGeom prst="bentConnector2">
            <a:avLst/>
          </a:prstGeom>
          <a:ln w="25400">
            <a:solidFill>
              <a:srgbClr val="AFAFA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線接點 10"/>
          <p:cNvCxnSpPr/>
          <p:nvPr/>
        </p:nvCxnSpPr>
        <p:spPr>
          <a:xfrm>
            <a:off x="5807968" y="2447065"/>
            <a:ext cx="0" cy="537600"/>
          </a:xfrm>
          <a:prstGeom prst="line">
            <a:avLst/>
          </a:prstGeom>
          <a:ln w="25400">
            <a:solidFill>
              <a:srgbClr val="AFAFAF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" name="直線單箭頭接點 11"/>
          <p:cNvCxnSpPr/>
          <p:nvPr/>
        </p:nvCxnSpPr>
        <p:spPr>
          <a:xfrm>
            <a:off x="5807968" y="2984665"/>
            <a:ext cx="0" cy="543488"/>
          </a:xfrm>
          <a:prstGeom prst="straightConnector1">
            <a:avLst/>
          </a:prstGeom>
          <a:ln w="25400">
            <a:solidFill>
              <a:srgbClr val="AFAFA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 12"/>
          <p:cNvSpPr/>
          <p:nvPr/>
        </p:nvSpPr>
        <p:spPr>
          <a:xfrm>
            <a:off x="984334" y="5215074"/>
            <a:ext cx="2880000" cy="1080120"/>
          </a:xfrm>
          <a:prstGeom prst="rect">
            <a:avLst/>
          </a:prstGeom>
          <a:solidFill>
            <a:srgbClr val="125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Tx/>
              <a:buAutoNum type="arabicPeriod"/>
            </a:pPr>
            <a:r>
              <a:rPr lang="en-US" altLang="zh-TW" sz="2000" b="1" dirty="0"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Spectral Subtraction</a:t>
            </a:r>
          </a:p>
          <a:p>
            <a:pPr marL="342900" indent="-342900">
              <a:buAutoNum type="arabicPeriod"/>
            </a:pPr>
            <a:r>
              <a:rPr lang="en-US" altLang="zh-TW" sz="2000" b="1" dirty="0"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Wiener Filter</a:t>
            </a:r>
          </a:p>
          <a:p>
            <a:pPr marL="342900" indent="-342900">
              <a:buAutoNum type="arabicPeriod"/>
            </a:pPr>
            <a:r>
              <a:rPr lang="en-US" altLang="zh-TW" sz="2000" b="1" dirty="0"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Subspace Method</a:t>
            </a:r>
            <a:endParaRPr lang="zh-TW" altLang="en-US" sz="2000" b="1" dirty="0">
              <a:latin typeface="Arial Unicode MS" pitchFamily="34" charset="-120"/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4488314" y="5215074"/>
            <a:ext cx="2880000" cy="1080120"/>
          </a:xfrm>
          <a:prstGeom prst="rect">
            <a:avLst/>
          </a:prstGeom>
          <a:solidFill>
            <a:srgbClr val="125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en-US" altLang="zh-TW" sz="2000" b="1" dirty="0"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MMSE</a:t>
            </a:r>
          </a:p>
          <a:p>
            <a:pPr marL="342900" indent="-342900">
              <a:buAutoNum type="arabicPeriod"/>
            </a:pPr>
            <a:r>
              <a:rPr lang="en-US" altLang="zh-TW" sz="2000" b="1" dirty="0"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MAP</a:t>
            </a:r>
          </a:p>
          <a:p>
            <a:pPr marL="342900" indent="-342900">
              <a:buAutoNum type="arabicPeriod"/>
            </a:pPr>
            <a:r>
              <a:rPr lang="en-US" altLang="zh-TW" sz="2000" b="1" dirty="0"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ML</a:t>
            </a:r>
            <a:endParaRPr lang="zh-TW" altLang="en-US" sz="2000" b="1" dirty="0">
              <a:latin typeface="Arial Unicode MS" pitchFamily="34" charset="-120"/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7968208" y="5215074"/>
            <a:ext cx="2880000" cy="1080120"/>
          </a:xfrm>
          <a:prstGeom prst="rect">
            <a:avLst/>
          </a:prstGeom>
          <a:solidFill>
            <a:srgbClr val="125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en-US" altLang="zh-TW" sz="2000" b="1" dirty="0"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Harmonic Model</a:t>
            </a:r>
          </a:p>
          <a:p>
            <a:pPr marL="342900" indent="-342900">
              <a:buAutoNum type="arabicPeriod"/>
            </a:pPr>
            <a:r>
              <a:rPr lang="en-US" altLang="zh-TW" sz="2000" b="1" dirty="0"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Linear Prediction</a:t>
            </a:r>
          </a:p>
          <a:p>
            <a:pPr marL="342900" indent="-342900">
              <a:buAutoNum type="arabicPeriod"/>
            </a:pPr>
            <a:r>
              <a:rPr lang="en-US" altLang="zh-TW" sz="2000" b="1" dirty="0">
                <a:latin typeface="Arial Unicode MS" pitchFamily="34" charset="-120"/>
                <a:ea typeface="Arial Unicode MS" pitchFamily="34" charset="-120"/>
                <a:cs typeface="Arial Unicode MS" pitchFamily="34" charset="-120"/>
              </a:rPr>
              <a:t>HMM</a:t>
            </a:r>
            <a:endParaRPr lang="zh-TW" altLang="en-US" sz="2000" b="1" dirty="0">
              <a:latin typeface="Arial Unicode MS" pitchFamily="34" charset="-120"/>
              <a:ea typeface="Arial Unicode MS" pitchFamily="34" charset="-120"/>
              <a:cs typeface="Arial Unicode MS" pitchFamily="34" charset="-120"/>
            </a:endParaRPr>
          </a:p>
        </p:txBody>
      </p:sp>
      <p:grpSp>
        <p:nvGrpSpPr>
          <p:cNvPr id="29" name="群組 28"/>
          <p:cNvGrpSpPr/>
          <p:nvPr/>
        </p:nvGrpSpPr>
        <p:grpSpPr>
          <a:xfrm>
            <a:off x="839416" y="3356992"/>
            <a:ext cx="3114558" cy="3024336"/>
            <a:chOff x="395536" y="3284984"/>
            <a:chExt cx="2594881" cy="3024336"/>
          </a:xfrm>
        </p:grpSpPr>
        <p:cxnSp>
          <p:nvCxnSpPr>
            <p:cNvPr id="22" name="直線接點 21"/>
            <p:cNvCxnSpPr/>
            <p:nvPr/>
          </p:nvCxnSpPr>
          <p:spPr>
            <a:xfrm>
              <a:off x="395536" y="3284984"/>
              <a:ext cx="2594881" cy="0"/>
            </a:xfrm>
            <a:prstGeom prst="line">
              <a:avLst/>
            </a:prstGeom>
            <a:ln w="3810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線接點 23"/>
            <p:cNvCxnSpPr/>
            <p:nvPr/>
          </p:nvCxnSpPr>
          <p:spPr>
            <a:xfrm>
              <a:off x="2990417" y="3284984"/>
              <a:ext cx="0" cy="3024336"/>
            </a:xfrm>
            <a:prstGeom prst="line">
              <a:avLst/>
            </a:prstGeom>
            <a:ln w="3810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線接點 25"/>
            <p:cNvCxnSpPr/>
            <p:nvPr/>
          </p:nvCxnSpPr>
          <p:spPr>
            <a:xfrm flipH="1">
              <a:off x="395536" y="6309320"/>
              <a:ext cx="2594881" cy="0"/>
            </a:xfrm>
            <a:prstGeom prst="line">
              <a:avLst/>
            </a:prstGeom>
            <a:ln w="3810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線接點 27"/>
            <p:cNvCxnSpPr/>
            <p:nvPr/>
          </p:nvCxnSpPr>
          <p:spPr>
            <a:xfrm flipV="1">
              <a:off x="395536" y="3284984"/>
              <a:ext cx="0" cy="3024336"/>
            </a:xfrm>
            <a:prstGeom prst="line">
              <a:avLst/>
            </a:prstGeom>
            <a:ln w="3810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5" name="ïşļíďè">
            <a:extLst>
              <a:ext uri="{FF2B5EF4-FFF2-40B4-BE49-F238E27FC236}">
                <a16:creationId xmlns:a16="http://schemas.microsoft.com/office/drawing/2014/main" id="{BE83DB3D-E0BC-4CD9-B5D5-104A100E8F71}"/>
              </a:ext>
            </a:extLst>
          </p:cNvPr>
          <p:cNvSpPr/>
          <p:nvPr/>
        </p:nvSpPr>
        <p:spPr>
          <a:xfrm rot="5400000">
            <a:off x="2083603" y="4563559"/>
            <a:ext cx="662041" cy="594000"/>
          </a:xfrm>
          <a:prstGeom prst="rightArrow">
            <a:avLst/>
          </a:prstGeom>
          <a:gradFill flip="none" rotWithShape="1">
            <a:gsLst>
              <a:gs pos="0">
                <a:srgbClr val="12529F">
                  <a:lumMod val="85000"/>
                </a:srgbClr>
              </a:gs>
              <a:gs pos="100000">
                <a:srgbClr val="12529F">
                  <a:lumMod val="85000"/>
                  <a:alpha val="0"/>
                </a:srgbClr>
              </a:gs>
            </a:gsLst>
            <a:lin ang="10800000" scaled="1"/>
            <a:tileRect/>
          </a:gradFill>
          <a:ln w="317500" cap="flat" cmpd="sng" algn="ctr">
            <a:noFill/>
            <a:prstDash val="solid"/>
            <a:miter lim="800000"/>
            <a:headEnd type="triangle" w="sm" len="sm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27" name="ïşļíďè">
            <a:extLst>
              <a:ext uri="{FF2B5EF4-FFF2-40B4-BE49-F238E27FC236}">
                <a16:creationId xmlns:a16="http://schemas.microsoft.com/office/drawing/2014/main" id="{BE83DB3D-E0BC-4CD9-B5D5-104A100E8F71}"/>
              </a:ext>
            </a:extLst>
          </p:cNvPr>
          <p:cNvSpPr/>
          <p:nvPr/>
        </p:nvSpPr>
        <p:spPr>
          <a:xfrm rot="5400000">
            <a:off x="5539987" y="4563559"/>
            <a:ext cx="662041" cy="594000"/>
          </a:xfrm>
          <a:prstGeom prst="rightArrow">
            <a:avLst/>
          </a:prstGeom>
          <a:gradFill flip="none" rotWithShape="1">
            <a:gsLst>
              <a:gs pos="0">
                <a:srgbClr val="12529F">
                  <a:lumMod val="85000"/>
                </a:srgbClr>
              </a:gs>
              <a:gs pos="100000">
                <a:srgbClr val="12529F">
                  <a:lumMod val="85000"/>
                  <a:alpha val="0"/>
                </a:srgbClr>
              </a:gs>
            </a:gsLst>
            <a:lin ang="10800000" scaled="1"/>
            <a:tileRect/>
          </a:gradFill>
          <a:ln w="317500" cap="flat" cmpd="sng" algn="ctr">
            <a:noFill/>
            <a:prstDash val="solid"/>
            <a:miter lim="800000"/>
            <a:headEnd type="triangle" w="sm" len="sm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30" name="ïşļíďè">
            <a:extLst>
              <a:ext uri="{FF2B5EF4-FFF2-40B4-BE49-F238E27FC236}">
                <a16:creationId xmlns:a16="http://schemas.microsoft.com/office/drawing/2014/main" id="{BE83DB3D-E0BC-4CD9-B5D5-104A100E8F71}"/>
              </a:ext>
            </a:extLst>
          </p:cNvPr>
          <p:cNvSpPr/>
          <p:nvPr/>
        </p:nvSpPr>
        <p:spPr>
          <a:xfrm rot="5400000">
            <a:off x="9230332" y="4563559"/>
            <a:ext cx="662041" cy="594000"/>
          </a:xfrm>
          <a:prstGeom prst="rightArrow">
            <a:avLst/>
          </a:prstGeom>
          <a:gradFill flip="none" rotWithShape="1">
            <a:gsLst>
              <a:gs pos="0">
                <a:srgbClr val="12529F">
                  <a:lumMod val="85000"/>
                </a:srgbClr>
              </a:gs>
              <a:gs pos="100000">
                <a:srgbClr val="12529F">
                  <a:lumMod val="85000"/>
                  <a:alpha val="0"/>
                </a:srgbClr>
              </a:gs>
            </a:gsLst>
            <a:lin ang="10800000" scaled="1"/>
            <a:tileRect/>
          </a:gradFill>
          <a:ln w="317500" cap="flat" cmpd="sng" algn="ctr">
            <a:noFill/>
            <a:prstDash val="solid"/>
            <a:miter lim="800000"/>
            <a:headEnd type="triangle" w="sm" len="sm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5670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zh-TW" dirty="0">
                <a:latin typeface="+mn-lt"/>
              </a:rPr>
              <a:t>Introduction – </a:t>
            </a:r>
            <a:r>
              <a:rPr lang="en-US" altLang="zh-TW" dirty="0">
                <a:latin typeface="+mn-lt"/>
                <a:ea typeface="Arial Unicode MS" pitchFamily="34" charset="-120"/>
                <a:cs typeface="Arial Unicode MS" pitchFamily="34" charset="-120"/>
              </a:rPr>
              <a:t>Filtering Techniques</a:t>
            </a:r>
            <a:endParaRPr lang="zh-TW" altLang="en-US" dirty="0">
              <a:latin typeface="+mn-lt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4074081" y="2948983"/>
            <a:ext cx="1354388" cy="720080"/>
          </a:xfrm>
          <a:prstGeom prst="rect">
            <a:avLst/>
          </a:prstGeom>
          <a:solidFill>
            <a:srgbClr val="7F7F7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2000" dirty="0">
                <a:solidFill>
                  <a:schemeClr val="tx1"/>
                </a:solidFill>
                <a:ea typeface="Arial Unicode MS" pitchFamily="34" charset="-120"/>
                <a:cs typeface="Arial Unicode MS" pitchFamily="34" charset="-120"/>
              </a:rPr>
              <a:t>Noise tracking</a:t>
            </a:r>
            <a:endParaRPr lang="zh-TW" altLang="en-US" sz="2000" dirty="0">
              <a:solidFill>
                <a:schemeClr val="tx1"/>
              </a:solidFill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5969986" y="2947079"/>
            <a:ext cx="1494166" cy="720080"/>
          </a:xfrm>
          <a:prstGeom prst="rect">
            <a:avLst/>
          </a:prstGeom>
          <a:solidFill>
            <a:srgbClr val="7F7F7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2000" dirty="0">
                <a:solidFill>
                  <a:schemeClr val="tx1"/>
                </a:solidFill>
                <a:ea typeface="Arial Unicode MS" pitchFamily="34" charset="-120"/>
                <a:cs typeface="Arial Unicode MS" pitchFamily="34" charset="-120"/>
              </a:rPr>
              <a:t>Gain Estimator</a:t>
            </a:r>
            <a:endParaRPr lang="zh-TW" altLang="en-US" sz="2000" dirty="0">
              <a:solidFill>
                <a:schemeClr val="tx1"/>
              </a:solidFill>
              <a:ea typeface="Arial Unicode MS" pitchFamily="34" charset="-120"/>
              <a:cs typeface="Arial Unicode MS" pitchFamily="34" charset="-12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橢圓 5"/>
              <p:cNvSpPr/>
              <p:nvPr/>
            </p:nvSpPr>
            <p:spPr>
              <a:xfrm>
                <a:off x="7464152" y="1924109"/>
                <a:ext cx="576064" cy="504056"/>
              </a:xfrm>
              <a:prstGeom prst="ellipse">
                <a:avLst/>
              </a:prstGeom>
              <a:solidFill>
                <a:srgbClr val="7F7F7F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0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/>
                        </a:rPr>
                        <m:t>×</m:t>
                      </m:r>
                    </m:oMath>
                  </m:oMathPara>
                </a14:m>
                <a:endParaRPr lang="zh-TW" altLang="en-US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橢圓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64152" y="1924109"/>
                <a:ext cx="576064" cy="504056"/>
              </a:xfrm>
              <a:prstGeom prst="ellipse">
                <a:avLst/>
              </a:prstGeom>
              <a:blipFill>
                <a:blip r:embed="rId2"/>
                <a:stretch>
                  <a:fillRect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矩形 6"/>
          <p:cNvSpPr/>
          <p:nvPr/>
        </p:nvSpPr>
        <p:spPr>
          <a:xfrm>
            <a:off x="9336360" y="1924109"/>
            <a:ext cx="792088" cy="504056"/>
          </a:xfrm>
          <a:prstGeom prst="rect">
            <a:avLst/>
          </a:prstGeom>
          <a:solidFill>
            <a:srgbClr val="7F7F7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2000" dirty="0">
                <a:solidFill>
                  <a:schemeClr val="tx1"/>
                </a:solidFill>
                <a:ea typeface="Arial Unicode MS" pitchFamily="34" charset="-120"/>
                <a:cs typeface="Arial Unicode MS" pitchFamily="34" charset="-120"/>
              </a:rPr>
              <a:t>IFFT</a:t>
            </a:r>
            <a:endParaRPr lang="zh-TW" altLang="en-US" sz="2000" dirty="0">
              <a:solidFill>
                <a:schemeClr val="tx1"/>
              </a:solidFill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2423592" y="1924109"/>
            <a:ext cx="792088" cy="504056"/>
          </a:xfrm>
          <a:prstGeom prst="rect">
            <a:avLst/>
          </a:prstGeom>
          <a:solidFill>
            <a:srgbClr val="7F7F7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2000" dirty="0">
                <a:solidFill>
                  <a:schemeClr val="tx1"/>
                </a:solidFill>
                <a:ea typeface="Arial Unicode MS" pitchFamily="34" charset="-120"/>
                <a:cs typeface="Arial Unicode MS" pitchFamily="34" charset="-120"/>
              </a:rPr>
              <a:t>FFT</a:t>
            </a:r>
            <a:endParaRPr lang="zh-TW" altLang="en-US" sz="2000" dirty="0">
              <a:solidFill>
                <a:schemeClr val="tx1"/>
              </a:solidFill>
              <a:ea typeface="Arial Unicode MS" pitchFamily="34" charset="-120"/>
              <a:cs typeface="Arial Unicode MS" pitchFamily="34" charset="-120"/>
            </a:endParaRPr>
          </a:p>
        </p:txBody>
      </p:sp>
      <p:cxnSp>
        <p:nvCxnSpPr>
          <p:cNvPr id="9" name="直線單箭頭接點 8"/>
          <p:cNvCxnSpPr>
            <a:stCxn id="4" idx="3"/>
            <a:endCxn id="5" idx="1"/>
          </p:cNvCxnSpPr>
          <p:nvPr/>
        </p:nvCxnSpPr>
        <p:spPr>
          <a:xfrm flipV="1">
            <a:off x="5428469" y="3307119"/>
            <a:ext cx="541517" cy="1904"/>
          </a:xfrm>
          <a:prstGeom prst="straightConnector1">
            <a:avLst/>
          </a:prstGeom>
          <a:ln w="254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單箭頭接點 9"/>
          <p:cNvCxnSpPr/>
          <p:nvPr/>
        </p:nvCxnSpPr>
        <p:spPr>
          <a:xfrm>
            <a:off x="3191983" y="2154991"/>
            <a:ext cx="4248472" cy="0"/>
          </a:xfrm>
          <a:prstGeom prst="straightConnector1">
            <a:avLst/>
          </a:prstGeom>
          <a:ln w="254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線單箭頭接點 10"/>
          <p:cNvCxnSpPr>
            <a:stCxn id="6" idx="6"/>
            <a:endCxn id="7" idx="1"/>
          </p:cNvCxnSpPr>
          <p:nvPr/>
        </p:nvCxnSpPr>
        <p:spPr>
          <a:xfrm>
            <a:off x="8040216" y="2176137"/>
            <a:ext cx="1296144" cy="0"/>
          </a:xfrm>
          <a:prstGeom prst="straightConnector1">
            <a:avLst/>
          </a:prstGeom>
          <a:ln w="254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單箭頭接點 11"/>
          <p:cNvCxnSpPr>
            <a:stCxn id="7" idx="3"/>
          </p:cNvCxnSpPr>
          <p:nvPr/>
        </p:nvCxnSpPr>
        <p:spPr>
          <a:xfrm>
            <a:off x="10128448" y="2176137"/>
            <a:ext cx="1080000" cy="0"/>
          </a:xfrm>
          <a:prstGeom prst="straightConnector1">
            <a:avLst/>
          </a:prstGeom>
          <a:ln w="254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線單箭頭接點 12"/>
          <p:cNvCxnSpPr/>
          <p:nvPr/>
        </p:nvCxnSpPr>
        <p:spPr>
          <a:xfrm>
            <a:off x="1415480" y="2176137"/>
            <a:ext cx="1008000" cy="0"/>
          </a:xfrm>
          <a:prstGeom prst="straightConnector1">
            <a:avLst/>
          </a:prstGeom>
          <a:ln w="254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肘形接點 13"/>
          <p:cNvCxnSpPr>
            <a:endCxn id="4" idx="1"/>
          </p:cNvCxnSpPr>
          <p:nvPr/>
        </p:nvCxnSpPr>
        <p:spPr>
          <a:xfrm rot="16200000" flipH="1">
            <a:off x="3210604" y="2445546"/>
            <a:ext cx="1132886" cy="594068"/>
          </a:xfrm>
          <a:prstGeom prst="bentConnector2">
            <a:avLst/>
          </a:prstGeom>
          <a:ln w="254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肘形接點 14"/>
          <p:cNvCxnSpPr>
            <a:stCxn id="5" idx="3"/>
            <a:endCxn id="6" idx="4"/>
          </p:cNvCxnSpPr>
          <p:nvPr/>
        </p:nvCxnSpPr>
        <p:spPr>
          <a:xfrm flipV="1">
            <a:off x="7464152" y="2428165"/>
            <a:ext cx="288032" cy="878954"/>
          </a:xfrm>
          <a:prstGeom prst="bentConnector2">
            <a:avLst/>
          </a:prstGeom>
          <a:ln w="254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5" descr="E:\Enhancement\data\noisy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7569" y="5915267"/>
            <a:ext cx="2592287" cy="730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向右箭號 16"/>
          <p:cNvSpPr/>
          <p:nvPr/>
        </p:nvSpPr>
        <p:spPr>
          <a:xfrm>
            <a:off x="4848497" y="6069138"/>
            <a:ext cx="1368152" cy="562643"/>
          </a:xfrm>
          <a:prstGeom prst="right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2000" b="1" dirty="0">
                <a:ea typeface="Arial Unicode MS" pitchFamily="34" charset="-120"/>
                <a:cs typeface="Arial Unicode MS" pitchFamily="34" charset="-120"/>
              </a:rPr>
              <a:t>process</a:t>
            </a:r>
            <a:endParaRPr lang="zh-TW" altLang="en-US" sz="2000" b="1" dirty="0">
              <a:ea typeface="Arial Unicode MS" pitchFamily="34" charset="-120"/>
              <a:cs typeface="Arial Unicode MS" pitchFamily="34" charset="-120"/>
            </a:endParaRPr>
          </a:p>
        </p:txBody>
      </p:sp>
      <p:pic>
        <p:nvPicPr>
          <p:cNvPr id="18" name="Picture 2" descr="E:\Enhancement\data\enhanced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2250" y="5895777"/>
            <a:ext cx="2592288" cy="845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" descr="E:\Enhancement\data\clean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5723" y="5053338"/>
            <a:ext cx="2592287" cy="8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文字方塊 19"/>
          <p:cNvSpPr txBox="1"/>
          <p:nvPr/>
        </p:nvSpPr>
        <p:spPr>
          <a:xfrm>
            <a:off x="9129104" y="5288631"/>
            <a:ext cx="10713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2000" b="1" dirty="0">
                <a:latin typeface="+mn-lt"/>
                <a:ea typeface="Arial Unicode MS" pitchFamily="34" charset="-120"/>
                <a:cs typeface="Arial Unicode MS" pitchFamily="34" charset="-120"/>
              </a:rPr>
              <a:t>clean</a:t>
            </a:r>
            <a:endParaRPr lang="zh-TW" altLang="en-US" sz="2000" b="1" dirty="0">
              <a:latin typeface="+mn-lt"/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21" name="文字方塊 20"/>
          <p:cNvSpPr txBox="1"/>
          <p:nvPr/>
        </p:nvSpPr>
        <p:spPr>
          <a:xfrm>
            <a:off x="1156618" y="6119628"/>
            <a:ext cx="9776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2000" b="1" dirty="0">
                <a:latin typeface="+mn-lt"/>
                <a:ea typeface="Arial Unicode MS" pitchFamily="34" charset="-120"/>
                <a:cs typeface="Arial Unicode MS" pitchFamily="34" charset="-120"/>
              </a:rPr>
              <a:t>noisy</a:t>
            </a:r>
            <a:endParaRPr lang="zh-TW" altLang="en-US" sz="2000" b="1" dirty="0">
              <a:latin typeface="+mn-lt"/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22" name="文字方塊 21"/>
          <p:cNvSpPr txBox="1"/>
          <p:nvPr/>
        </p:nvSpPr>
        <p:spPr>
          <a:xfrm>
            <a:off x="9129102" y="6150252"/>
            <a:ext cx="15754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2000" b="1" dirty="0">
                <a:latin typeface="+mn-lt"/>
                <a:ea typeface="Arial Unicode MS" pitchFamily="34" charset="-120"/>
                <a:cs typeface="Arial Unicode MS" pitchFamily="34" charset="-120"/>
              </a:rPr>
              <a:t>enhanced</a:t>
            </a:r>
            <a:endParaRPr lang="zh-TW" altLang="en-US" sz="2000" b="1" dirty="0">
              <a:latin typeface="+mn-lt"/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23" name="向下箭號 22"/>
          <p:cNvSpPr/>
          <p:nvPr/>
        </p:nvSpPr>
        <p:spPr>
          <a:xfrm>
            <a:off x="4499289" y="3669063"/>
            <a:ext cx="276870" cy="35813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sz="2000"/>
          </a:p>
        </p:txBody>
      </p:sp>
      <p:sp>
        <p:nvSpPr>
          <p:cNvPr id="24" name="向下箭號 23"/>
          <p:cNvSpPr/>
          <p:nvPr/>
        </p:nvSpPr>
        <p:spPr>
          <a:xfrm>
            <a:off x="6600056" y="3645024"/>
            <a:ext cx="288032" cy="3600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sz="2000"/>
          </a:p>
        </p:txBody>
      </p:sp>
      <p:sp>
        <p:nvSpPr>
          <p:cNvPr id="25" name="矩形 24"/>
          <p:cNvSpPr/>
          <p:nvPr/>
        </p:nvSpPr>
        <p:spPr>
          <a:xfrm>
            <a:off x="3791744" y="4099207"/>
            <a:ext cx="1636725" cy="1129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en-US" altLang="zh-TW" sz="2000" dirty="0">
                <a:ea typeface="Arial Unicode MS" pitchFamily="34" charset="-120"/>
                <a:cs typeface="Arial Unicode MS" pitchFamily="34" charset="-120"/>
              </a:rPr>
              <a:t>VAD</a:t>
            </a:r>
          </a:p>
          <a:p>
            <a:pPr marL="342900" indent="-342900">
              <a:buAutoNum type="arabicPeriod"/>
            </a:pPr>
            <a:r>
              <a:rPr lang="en-US" altLang="zh-TW" sz="2000" dirty="0">
                <a:ea typeface="Arial Unicode MS" pitchFamily="34" charset="-120"/>
                <a:cs typeface="Arial Unicode MS" pitchFamily="34" charset="-120"/>
              </a:rPr>
              <a:t>MS</a:t>
            </a:r>
          </a:p>
          <a:p>
            <a:pPr marL="342900" indent="-342900">
              <a:buAutoNum type="arabicPeriod"/>
            </a:pPr>
            <a:r>
              <a:rPr lang="en-US" altLang="zh-TW" sz="2000" dirty="0">
                <a:ea typeface="Arial Unicode MS" pitchFamily="34" charset="-120"/>
                <a:cs typeface="Arial Unicode MS" pitchFamily="34" charset="-120"/>
              </a:rPr>
              <a:t>MCRA</a:t>
            </a:r>
            <a:endParaRPr lang="zh-TW" altLang="en-US" sz="2000" dirty="0">
              <a:ea typeface="Arial Unicode MS" pitchFamily="34" charset="-120"/>
              <a:cs typeface="Arial Unicode MS" pitchFamily="34" charset="-120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5924049" y="4099208"/>
            <a:ext cx="1972152" cy="8640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2000" dirty="0">
                <a:ea typeface="Arial Unicode MS" pitchFamily="34" charset="-120"/>
                <a:cs typeface="Arial Unicode MS" pitchFamily="34" charset="-120"/>
              </a:rPr>
              <a:t>Wiener Filte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文字方塊 26"/>
              <p:cNvSpPr txBox="1"/>
              <p:nvPr/>
            </p:nvSpPr>
            <p:spPr>
              <a:xfrm>
                <a:off x="1487488" y="1668851"/>
                <a:ext cx="72008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000" b="1" i="1">
                          <a:latin typeface="Cambria Math" panose="02040503050406030204" pitchFamily="18" charset="0"/>
                        </a:rPr>
                        <m:t>𝒚</m:t>
                      </m:r>
                      <m:r>
                        <a:rPr lang="en-US" altLang="zh-TW" sz="2000" b="1" i="1">
                          <a:latin typeface="Cambria Math" panose="02040503050406030204" pitchFamily="18" charset="0"/>
                        </a:rPr>
                        <m:t>[</m:t>
                      </m:r>
                      <m:r>
                        <a:rPr lang="en-US" altLang="zh-TW" sz="2000" b="1" i="1">
                          <a:latin typeface="Cambria Math" panose="02040503050406030204" pitchFamily="18" charset="0"/>
                        </a:rPr>
                        <m:t>𝒏</m:t>
                      </m:r>
                      <m:r>
                        <a:rPr lang="en-US" altLang="zh-TW" sz="2000" b="1" i="1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TW" altLang="en-US" sz="20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27" name="文字方塊 2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87488" y="1668851"/>
                <a:ext cx="720080" cy="400110"/>
              </a:xfrm>
              <a:prstGeom prst="rect">
                <a:avLst/>
              </a:prstGeom>
              <a:blipFill>
                <a:blip r:embed="rId6"/>
                <a:stretch>
                  <a:fillRect r="-1695" b="-18462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文字方塊 27"/>
              <p:cNvSpPr txBox="1"/>
              <p:nvPr/>
            </p:nvSpPr>
            <p:spPr>
              <a:xfrm>
                <a:off x="3343517" y="1659621"/>
                <a:ext cx="117582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000" b="1" i="1">
                          <a:latin typeface="Cambria Math" panose="02040503050406030204" pitchFamily="18" charset="0"/>
                        </a:rPr>
                        <m:t>𝒀</m:t>
                      </m:r>
                      <m:r>
                        <a:rPr lang="en-US" altLang="zh-TW" sz="2000" b="1" i="1">
                          <a:latin typeface="Cambria Math" panose="02040503050406030204" pitchFamily="18" charset="0"/>
                        </a:rPr>
                        <m:t>[</m:t>
                      </m:r>
                      <m:r>
                        <a:rPr lang="en-US" altLang="zh-TW" sz="2000" b="1" i="1">
                          <a:latin typeface="Cambria Math" panose="02040503050406030204" pitchFamily="18" charset="0"/>
                        </a:rPr>
                        <m:t>𝒎</m:t>
                      </m:r>
                      <m:r>
                        <a:rPr lang="en-US" altLang="zh-TW" sz="2000" b="1" i="1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TW" sz="2000" b="1" i="1">
                          <a:latin typeface="Cambria Math" panose="02040503050406030204" pitchFamily="18" charset="0"/>
                        </a:rPr>
                        <m:t>𝒌</m:t>
                      </m:r>
                      <m:r>
                        <a:rPr lang="en-US" altLang="zh-TW" sz="2000" b="1" i="1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TW" altLang="en-US" sz="20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28" name="文字方塊 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3517" y="1659621"/>
                <a:ext cx="1175825" cy="400110"/>
              </a:xfrm>
              <a:prstGeom prst="rect">
                <a:avLst/>
              </a:prstGeom>
              <a:blipFill>
                <a:blip r:embed="rId7"/>
                <a:stretch>
                  <a:fillRect b="-18182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文字方塊 28"/>
              <p:cNvSpPr txBox="1"/>
              <p:nvPr/>
            </p:nvSpPr>
            <p:spPr>
              <a:xfrm>
                <a:off x="8128072" y="1661001"/>
                <a:ext cx="1112583" cy="4109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altLang="zh-TW" sz="2000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TW" sz="2000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</m:acc>
                      <m:r>
                        <a:rPr lang="en-US" altLang="zh-TW" sz="2000" i="1">
                          <a:latin typeface="Cambria Math" panose="02040503050406030204" pitchFamily="18" charset="0"/>
                        </a:rPr>
                        <m:t>[</m:t>
                      </m:r>
                      <m:r>
                        <a:rPr lang="en-US" altLang="zh-TW" sz="2000" i="1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altLang="zh-TW" sz="2000" i="1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TW" sz="2000" i="1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US" altLang="zh-TW" sz="2000" i="1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TW" altLang="en-US" sz="2000" dirty="0">
                  <a:latin typeface="+mn-lt"/>
                </a:endParaRPr>
              </a:p>
            </p:txBody>
          </p:sp>
        </mc:Choice>
        <mc:Fallback xmlns="">
          <p:sp>
            <p:nvSpPr>
              <p:cNvPr id="29" name="文字方塊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28072" y="1661001"/>
                <a:ext cx="1112583" cy="410946"/>
              </a:xfrm>
              <a:prstGeom prst="rect">
                <a:avLst/>
              </a:prstGeom>
              <a:blipFill>
                <a:blip r:embed="rId8"/>
                <a:stretch>
                  <a:fillRect t="-2941" b="-16176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文字方塊 29"/>
              <p:cNvSpPr txBox="1"/>
              <p:nvPr/>
            </p:nvSpPr>
            <p:spPr>
              <a:xfrm>
                <a:off x="10248767" y="1659621"/>
                <a:ext cx="81578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altLang="zh-TW" sz="2000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TW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acc>
                      <m:r>
                        <a:rPr lang="en-US" altLang="zh-TW" sz="2000" i="1">
                          <a:latin typeface="Cambria Math" panose="02040503050406030204" pitchFamily="18" charset="0"/>
                        </a:rPr>
                        <m:t>[</m:t>
                      </m:r>
                      <m:r>
                        <a:rPr lang="en-US" altLang="zh-TW" sz="2000" i="1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n-US" altLang="zh-TW" sz="2000" i="1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TW" altLang="en-US" sz="2000" dirty="0">
                  <a:latin typeface="+mn-lt"/>
                </a:endParaRPr>
              </a:p>
            </p:txBody>
          </p:sp>
        </mc:Choice>
        <mc:Fallback xmlns="">
          <p:sp>
            <p:nvSpPr>
              <p:cNvPr id="30" name="文字方塊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48767" y="1659621"/>
                <a:ext cx="815785" cy="400110"/>
              </a:xfrm>
              <a:prstGeom prst="rect">
                <a:avLst/>
              </a:prstGeom>
              <a:blipFill>
                <a:blip r:embed="rId9"/>
                <a:stretch>
                  <a:fillRect t="-3030" b="-18182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36794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zh-TW" dirty="0">
                <a:cs typeface="Times New Roman" pitchFamily="18" charset="0"/>
              </a:rPr>
              <a:t>System Algorithm</a:t>
            </a:r>
            <a:endParaRPr lang="zh-TW" altLang="en-US" dirty="0"/>
          </a:p>
        </p:txBody>
      </p:sp>
      <p:sp>
        <p:nvSpPr>
          <p:cNvPr id="2050" name="Rectangle 2"/>
          <p:cNvSpPr>
            <a:spLocks noChangeArrowheads="1"/>
          </p:cNvSpPr>
          <p:nvPr/>
        </p:nvSpPr>
        <p:spPr bwMode="auto">
          <a:xfrm>
            <a:off x="1524001" y="-230832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1524001" y="-230832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2054" name="Rectangle 6"/>
          <p:cNvSpPr>
            <a:spLocks noChangeArrowheads="1"/>
          </p:cNvSpPr>
          <p:nvPr/>
        </p:nvSpPr>
        <p:spPr bwMode="auto">
          <a:xfrm>
            <a:off x="1524001" y="-230832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1524001" y="-230832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24578" name="Rectangle 2"/>
          <p:cNvSpPr>
            <a:spLocks noChangeArrowheads="1"/>
          </p:cNvSpPr>
          <p:nvPr/>
        </p:nvSpPr>
        <p:spPr bwMode="auto">
          <a:xfrm>
            <a:off x="1524001" y="-2232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24579" name="Rectangle 3"/>
          <p:cNvSpPr>
            <a:spLocks noChangeArrowheads="1"/>
          </p:cNvSpPr>
          <p:nvPr/>
        </p:nvSpPr>
        <p:spPr bwMode="auto">
          <a:xfrm>
            <a:off x="1524001" y="453509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kumimoji="0" lang="zh-TW" altLang="zh-TW" sz="1800">
              <a:latin typeface="Arial" pitchFamily="34" charset="0"/>
            </a:endParaRPr>
          </a:p>
        </p:txBody>
      </p:sp>
      <p:sp>
        <p:nvSpPr>
          <p:cNvPr id="10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1" name="Text Placeholder 3"/>
          <p:cNvSpPr txBox="1">
            <a:spLocks/>
          </p:cNvSpPr>
          <p:nvPr/>
        </p:nvSpPr>
        <p:spPr>
          <a:xfrm>
            <a:off x="1683251" y="1746242"/>
            <a:ext cx="2913618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Wiener filter </a:t>
            </a:r>
            <a:r>
              <a:rPr kumimoji="0" lang="zh-TW" altLang="en-US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維納濾波器</a:t>
            </a: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:</a:t>
            </a:r>
          </a:p>
        </p:txBody>
      </p:sp>
      <p:sp>
        <p:nvSpPr>
          <p:cNvPr id="12" name="Oval 77"/>
          <p:cNvSpPr>
            <a:spLocks noChangeArrowheads="1"/>
          </p:cNvSpPr>
          <p:nvPr/>
        </p:nvSpPr>
        <p:spPr bwMode="auto">
          <a:xfrm>
            <a:off x="1007630" y="1751348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微軟正黑體" panose="020B0604030504040204" pitchFamily="34" charset="-120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</a:endParaRPr>
          </a:p>
        </p:txBody>
      </p:sp>
      <p:sp>
        <p:nvSpPr>
          <p:cNvPr id="13" name="Freeform 359"/>
          <p:cNvSpPr>
            <a:spLocks noChangeAspect="1"/>
          </p:cNvSpPr>
          <p:nvPr/>
        </p:nvSpPr>
        <p:spPr>
          <a:xfrm>
            <a:off x="1487520" y="2336925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rgbClr val="DD80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4" name="Text Placeholder 3"/>
          <p:cNvSpPr txBox="1">
            <a:spLocks/>
          </p:cNvSpPr>
          <p:nvPr/>
        </p:nvSpPr>
        <p:spPr>
          <a:xfrm>
            <a:off x="1956302" y="2329135"/>
            <a:ext cx="9699771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y[n]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為一個含噪音的訊號可以看成是一個純淨的原始語音信號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[n]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加上噪音或雜訊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v[n]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。</a:t>
            </a:r>
          </a:p>
        </p:txBody>
      </p:sp>
      <p:sp>
        <p:nvSpPr>
          <p:cNvPr id="15" name="Freeform 359"/>
          <p:cNvSpPr>
            <a:spLocks noChangeAspect="1"/>
          </p:cNvSpPr>
          <p:nvPr/>
        </p:nvSpPr>
        <p:spPr>
          <a:xfrm>
            <a:off x="1491698" y="3821559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rgbClr val="DD80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6" name="Text Placeholder 3"/>
          <p:cNvSpPr txBox="1">
            <a:spLocks/>
          </p:cNvSpPr>
          <p:nvPr/>
        </p:nvSpPr>
        <p:spPr>
          <a:xfrm>
            <a:off x="1960480" y="3790782"/>
            <a:ext cx="9723520" cy="67710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期望透過濾波器濾波，使得</a:t>
            </a:r>
            <a:r>
              <a:rPr kumimoji="0" lang="en-US" altLang="zh-TW" sz="2000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y[n]</a:t>
            </a:r>
            <a:r>
              <a:rPr kumimoji="0" lang="zh-TW" altLang="en-US" sz="2000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通過濾波器後，可以濾除掉雜訊</a:t>
            </a:r>
            <a:r>
              <a:rPr kumimoji="0" lang="en-US" altLang="zh-TW" sz="2000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v[n]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，</a:t>
            </a:r>
            <a:endParaRPr kumimoji="0" lang="en-US" altLang="zh-TW" sz="200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得到一個近似 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[n]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，純淨的原始語音信號。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字方塊 3"/>
              <p:cNvSpPr txBox="1"/>
              <p:nvPr/>
            </p:nvSpPr>
            <p:spPr>
              <a:xfrm>
                <a:off x="4727848" y="2996952"/>
                <a:ext cx="263629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b="1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𝒚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zh-TW" b="1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b="1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𝒏</m:t>
                          </m:r>
                        </m:e>
                      </m:d>
                      <m:r>
                        <a:rPr lang="en-US" altLang="zh-TW" b="1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TW" b="1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𝒔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zh-TW" b="1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b="1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𝒏</m:t>
                          </m:r>
                        </m:e>
                      </m:d>
                      <m:r>
                        <a:rPr lang="en-US" altLang="zh-TW" b="1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TW" b="1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𝒗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zh-TW" b="1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b="1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𝒏</m:t>
                          </m:r>
                        </m:e>
                      </m:d>
                    </m:oMath>
                  </m:oMathPara>
                </a14:m>
                <a:endParaRPr lang="zh-TW" altLang="en-US" b="1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4" name="文字方塊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27848" y="2996952"/>
                <a:ext cx="2636299" cy="369332"/>
              </a:xfrm>
              <a:prstGeom prst="rect">
                <a:avLst/>
              </a:prstGeom>
              <a:blipFill>
                <a:blip r:embed="rId2"/>
                <a:stretch>
                  <a:fillRect l="-1852" b="-28333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735072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方塊 3">
            <a:hlinkClick r:id="rId12" action="ppaction://hlinkfile"/>
          </p:cNvPr>
          <p:cNvSpPr txBox="1"/>
          <p:nvPr/>
        </p:nvSpPr>
        <p:spPr>
          <a:xfrm>
            <a:off x="983432" y="2555611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TW" b="1" dirty="0">
                <a:latin typeface="+mn-lt"/>
                <a:ea typeface="標楷體" pitchFamily="65" charset="-120"/>
                <a:cs typeface="Calibri" pitchFamily="34" charset="0"/>
              </a:rPr>
              <a:t>Noisy </a:t>
            </a:r>
            <a:endParaRPr lang="zh-TW" altLang="en-US" b="1" dirty="0">
              <a:latin typeface="+mn-lt"/>
              <a:ea typeface="標楷體" pitchFamily="65" charset="-120"/>
              <a:cs typeface="Calibri" pitchFamily="34" charset="0"/>
            </a:endParaRPr>
          </a:p>
        </p:txBody>
      </p:sp>
      <p:sp>
        <p:nvSpPr>
          <p:cNvPr id="7" name="文字方塊 6"/>
          <p:cNvSpPr txBox="1"/>
          <p:nvPr/>
        </p:nvSpPr>
        <p:spPr>
          <a:xfrm>
            <a:off x="983432" y="3563723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TW" b="1" dirty="0">
                <a:solidFill>
                  <a:srgbClr val="FF0000"/>
                </a:solidFill>
                <a:latin typeface="+mn-lt"/>
                <a:ea typeface="標楷體" pitchFamily="65" charset="-120"/>
                <a:cs typeface="Calibri" pitchFamily="34" charset="0"/>
              </a:rPr>
              <a:t>Wiener </a:t>
            </a:r>
            <a:endParaRPr lang="zh-TW" altLang="en-US" b="1" dirty="0">
              <a:solidFill>
                <a:srgbClr val="FF0000"/>
              </a:solidFill>
              <a:latin typeface="+mn-lt"/>
              <a:ea typeface="標楷體" pitchFamily="65" charset="-120"/>
              <a:cs typeface="Calibri" pitchFamily="34" charset="0"/>
            </a:endParaRPr>
          </a:p>
        </p:txBody>
      </p:sp>
      <p:sp>
        <p:nvSpPr>
          <p:cNvPr id="9" name="文字方塊 8"/>
          <p:cNvSpPr txBox="1"/>
          <p:nvPr/>
        </p:nvSpPr>
        <p:spPr>
          <a:xfrm>
            <a:off x="983432" y="4617023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TW" b="1" dirty="0">
                <a:latin typeface="+mn-lt"/>
                <a:ea typeface="標楷體" pitchFamily="65" charset="-120"/>
                <a:cs typeface="Calibri" pitchFamily="34" charset="0"/>
              </a:rPr>
              <a:t>MMSE</a:t>
            </a:r>
            <a:endParaRPr lang="zh-TW" altLang="en-US" b="1" dirty="0">
              <a:latin typeface="+mn-lt"/>
              <a:ea typeface="標楷體" pitchFamily="65" charset="-120"/>
              <a:cs typeface="Calibri" pitchFamily="34" charset="0"/>
            </a:endParaRPr>
          </a:p>
        </p:txBody>
      </p:sp>
      <p:sp>
        <p:nvSpPr>
          <p:cNvPr id="10" name="文字方塊 9"/>
          <p:cNvSpPr txBox="1"/>
          <p:nvPr/>
        </p:nvSpPr>
        <p:spPr>
          <a:xfrm>
            <a:off x="983432" y="5609886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TW" b="1" dirty="0">
                <a:latin typeface="+mn-lt"/>
                <a:ea typeface="標楷體" pitchFamily="65" charset="-120"/>
                <a:cs typeface="Calibri" pitchFamily="34" charset="0"/>
              </a:rPr>
              <a:t>GMAPA</a:t>
            </a:r>
            <a:endParaRPr lang="zh-TW" altLang="en-US" b="1" dirty="0">
              <a:latin typeface="+mn-lt"/>
              <a:ea typeface="標楷體" pitchFamily="65" charset="-120"/>
              <a:cs typeface="Calibri" pitchFamily="34" charset="0"/>
            </a:endParaRPr>
          </a:p>
        </p:txBody>
      </p:sp>
      <p:sp>
        <p:nvSpPr>
          <p:cNvPr id="2" name="文字方塊 1"/>
          <p:cNvSpPr txBox="1"/>
          <p:nvPr/>
        </p:nvSpPr>
        <p:spPr>
          <a:xfrm>
            <a:off x="3434425" y="1662322"/>
            <a:ext cx="62250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TW" b="1" dirty="0">
                <a:latin typeface="+mn-lt"/>
                <a:ea typeface="標楷體" pitchFamily="65" charset="-120"/>
              </a:rPr>
              <a:t>Street + babble noise (very difficult case) </a:t>
            </a:r>
            <a:endParaRPr lang="zh-TW" altLang="en-US" b="1" dirty="0">
              <a:latin typeface="+mn-lt"/>
              <a:ea typeface="標楷體" pitchFamily="65" charset="-120"/>
            </a:endParaRPr>
          </a:p>
        </p:txBody>
      </p:sp>
      <p:graphicFrame>
        <p:nvGraphicFramePr>
          <p:cNvPr id="17" name="表格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2615026"/>
              </p:ext>
            </p:extLst>
          </p:nvPr>
        </p:nvGraphicFramePr>
        <p:xfrm>
          <a:off x="2550484" y="2300024"/>
          <a:ext cx="7718672" cy="400929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7903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02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572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607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002324">
                <a:tc>
                  <a:txBody>
                    <a:bodyPr/>
                    <a:lstStyle/>
                    <a:p>
                      <a:pPr algn="ctr"/>
                      <a:endParaRPr lang="zh-TW" altLang="en-US" sz="18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2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2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2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2324">
                <a:tc>
                  <a:txBody>
                    <a:bodyPr/>
                    <a:lstStyle/>
                    <a:p>
                      <a:pPr algn="ctr"/>
                      <a:endParaRPr lang="zh-TW" altLang="en-US" sz="18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2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2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2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02324">
                <a:tc>
                  <a:txBody>
                    <a:bodyPr/>
                    <a:lstStyle/>
                    <a:p>
                      <a:pPr algn="ctr"/>
                      <a:endParaRPr lang="zh-TW" altLang="en-US" sz="18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2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2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2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2324">
                <a:tc>
                  <a:txBody>
                    <a:bodyPr/>
                    <a:lstStyle/>
                    <a:p>
                      <a:pPr algn="ctr"/>
                      <a:endParaRPr lang="zh-TW" altLang="en-US" sz="18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2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2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2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" name="標題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/>
              <a:t>Case Study</a:t>
            </a:r>
            <a:endParaRPr lang="zh-TW" altLang="en-US" dirty="0"/>
          </a:p>
        </p:txBody>
      </p:sp>
      <p:sp>
        <p:nvSpPr>
          <p:cNvPr id="23" name="投影片編號版面配置區 3"/>
          <p:cNvSpPr>
            <a:spLocks noGrp="1"/>
          </p:cNvSpPr>
          <p:nvPr>
            <p:ph type="sldNum" sz="quarter" idx="4294967295"/>
          </p:nvPr>
        </p:nvSpPr>
        <p:spPr>
          <a:xfrm>
            <a:off x="11399838" y="6381750"/>
            <a:ext cx="792162" cy="360363"/>
          </a:xfrm>
        </p:spPr>
        <p:txBody>
          <a:bodyPr/>
          <a:lstStyle/>
          <a:p>
            <a:pPr>
              <a:defRPr/>
            </a:pPr>
            <a:fld id="{9042F249-9FA7-4276-9856-EF4B9CBF37F8}" type="slidenum">
              <a:rPr lang="en-US" altLang="zh-TW" sz="1400">
                <a:latin typeface="Calibri" panose="020F0502020204030204" pitchFamily="34" charset="0"/>
                <a:cs typeface="Calibri" pitchFamily="34" charset="0"/>
              </a:rPr>
              <a:pPr>
                <a:defRPr/>
              </a:pPr>
              <a:t>17</a:t>
            </a:fld>
            <a:endParaRPr lang="en-US" altLang="zh-TW" sz="1400" dirty="0">
              <a:latin typeface="Calibri" panose="020F0502020204030204" pitchFamily="34" charset="0"/>
              <a:cs typeface="Calibri" pitchFamily="34" charset="0"/>
            </a:endParaRPr>
          </a:p>
        </p:txBody>
      </p:sp>
      <p:pic>
        <p:nvPicPr>
          <p:cNvPr id="6" name="song_noisy_15dB.wav">
            <a:hlinkClick r:id="" action="ppaction://media"/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2900"/>
                </p14:media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9554369" y="3514963"/>
            <a:ext cx="609600" cy="609600"/>
          </a:xfrm>
          <a:prstGeom prst="rect">
            <a:avLst/>
          </a:prstGeom>
        </p:spPr>
      </p:pic>
      <p:pic>
        <p:nvPicPr>
          <p:cNvPr id="11" name="song_noisy_15dB.wav">
            <a:hlinkClick r:id="" action="ppaction://media"/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2900"/>
                </p14:media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9564188" y="4538733"/>
            <a:ext cx="609600" cy="609600"/>
          </a:xfrm>
          <a:prstGeom prst="rect">
            <a:avLst/>
          </a:prstGeom>
        </p:spPr>
      </p:pic>
      <p:pic>
        <p:nvPicPr>
          <p:cNvPr id="13" name="song_noisy_15dB.wav">
            <a:hlinkClick r:id="" action="ppaction://media"/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4">
                  <p14:trim st="2900"/>
                </p14:media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9581300" y="5522885"/>
            <a:ext cx="609600" cy="609600"/>
          </a:xfrm>
          <a:prstGeom prst="rect">
            <a:avLst/>
          </a:prstGeom>
        </p:spPr>
      </p:pic>
      <p:pic>
        <p:nvPicPr>
          <p:cNvPr id="15" name="non-process-N.wav">
            <a:hlinkClick r:id="" action="ppaction://media"/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5">
                  <p14:trim st="7500" end="5099.9546"/>
                </p14:media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5574820" y="2476380"/>
            <a:ext cx="609600" cy="609600"/>
          </a:xfrm>
          <a:prstGeom prst="rect">
            <a:avLst/>
          </a:prstGeom>
        </p:spPr>
      </p:pic>
      <p:pic>
        <p:nvPicPr>
          <p:cNvPr id="16" name="MLSA-N.wav">
            <a:hlinkClick r:id="" action="ppaction://media"/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6">
                  <p14:trim st="7500" end="5089.9546"/>
                </p14:media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5577109" y="3446020"/>
            <a:ext cx="609600" cy="609600"/>
          </a:xfrm>
          <a:prstGeom prst="rect">
            <a:avLst/>
          </a:prstGeom>
        </p:spPr>
      </p:pic>
      <p:pic>
        <p:nvPicPr>
          <p:cNvPr id="18" name="MAPA-N.wav">
            <a:hlinkClick r:id="" action="ppaction://media"/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7">
                  <p14:trim st="7500" end="5089.9546"/>
                </p14:media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5565960" y="4496888"/>
            <a:ext cx="609600" cy="609600"/>
          </a:xfrm>
          <a:prstGeom prst="rect">
            <a:avLst/>
          </a:prstGeom>
        </p:spPr>
      </p:pic>
      <p:pic>
        <p:nvPicPr>
          <p:cNvPr id="19" name="sliding-GMAPA-N.wav">
            <a:hlinkClick r:id="" action="ppaction://media"/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8">
                  <p14:trim st="7500" end="5089.9546"/>
                </p14:media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5581616" y="5456336"/>
            <a:ext cx="609600" cy="609600"/>
          </a:xfrm>
          <a:prstGeom prst="rect">
            <a:avLst/>
          </a:prstGeom>
        </p:spPr>
      </p:pic>
      <p:pic>
        <p:nvPicPr>
          <p:cNvPr id="12" name="圖片 11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7565" y="4375973"/>
            <a:ext cx="2683660" cy="864000"/>
          </a:xfrm>
          <a:prstGeom prst="rect">
            <a:avLst/>
          </a:prstGeom>
        </p:spPr>
      </p:pic>
      <p:pic>
        <p:nvPicPr>
          <p:cNvPr id="14" name="圖片 1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6947" y="5395685"/>
            <a:ext cx="2683661" cy="864000"/>
          </a:xfrm>
          <a:prstGeom prst="rect">
            <a:avLst/>
          </a:prstGeom>
        </p:spPr>
      </p:pic>
      <p:pic>
        <p:nvPicPr>
          <p:cNvPr id="21" name="圖片 20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7565" y="3416972"/>
            <a:ext cx="2683661" cy="864000"/>
          </a:xfrm>
          <a:prstGeom prst="rect">
            <a:avLst/>
          </a:prstGeom>
        </p:spPr>
      </p:pic>
      <p:pic>
        <p:nvPicPr>
          <p:cNvPr id="22" name="圖片 21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7565" y="2391012"/>
            <a:ext cx="2683661" cy="864000"/>
          </a:xfrm>
          <a:prstGeom prst="rect">
            <a:avLst/>
          </a:prstGeom>
        </p:spPr>
      </p:pic>
      <p:pic>
        <p:nvPicPr>
          <p:cNvPr id="24" name="圖片 23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4874" y="2363517"/>
            <a:ext cx="2683661" cy="864000"/>
          </a:xfrm>
          <a:prstGeom prst="rect">
            <a:avLst/>
          </a:prstGeom>
        </p:spPr>
      </p:pic>
      <p:pic>
        <p:nvPicPr>
          <p:cNvPr id="25" name="圖片 24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5173" y="3381650"/>
            <a:ext cx="2683661" cy="864000"/>
          </a:xfrm>
          <a:prstGeom prst="rect">
            <a:avLst/>
          </a:prstGeom>
        </p:spPr>
      </p:pic>
      <p:pic>
        <p:nvPicPr>
          <p:cNvPr id="26" name="圖片 25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0359" y="4369688"/>
            <a:ext cx="2683661" cy="864000"/>
          </a:xfrm>
          <a:prstGeom prst="rect">
            <a:avLst/>
          </a:prstGeom>
        </p:spPr>
      </p:pic>
      <p:pic>
        <p:nvPicPr>
          <p:cNvPr id="27" name="圖片 26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0658" y="5379828"/>
            <a:ext cx="2683661" cy="864000"/>
          </a:xfrm>
          <a:prstGeom prst="rect">
            <a:avLst/>
          </a:prstGeom>
        </p:spPr>
      </p:pic>
      <p:pic>
        <p:nvPicPr>
          <p:cNvPr id="28" name="song_noisy_15dB.wav">
            <a:hlinkClick r:id="" action="ppaction://media"/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9">
                  <p14:trim st="2900"/>
                </p14:media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9554369" y="2476380"/>
            <a:ext cx="609600" cy="609600"/>
          </a:xfrm>
          <a:prstGeom prst="rect">
            <a:avLst/>
          </a:prstGeom>
        </p:spPr>
      </p:pic>
      <p:sp>
        <p:nvSpPr>
          <p:cNvPr id="29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848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35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335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audio>
              <p:cMediaNode vol="80000">
                <p:cTn id="1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8" dur="3350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"/>
                </p:tgtEl>
              </p:cMediaNode>
            </p:audio>
            <p:seq concurrent="1" nextAc="seek">
              <p:cTn id="20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1" fill="hold">
                      <p:stCondLst>
                        <p:cond delay="0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4" dur="24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5"/>
                </p:tgtEl>
              </p:cMediaNode>
            </p:audio>
            <p:seq concurrent="1" nextAc="seek">
              <p:cTn id="26" restart="whenNotActive" fill="hold" evtFilter="cancelBubble" nodeType="interactiveSeq">
                <p:stCondLst>
                  <p:cond evt="onClick" delay="0">
                    <p:tgtEl>
                      <p:spTgt spid="1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7" fill="hold">
                      <p:stCondLst>
                        <p:cond delay="0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2400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"/>
                  </p:tgtEl>
                </p:cond>
              </p:nextCondLst>
            </p:seq>
            <p:audio>
              <p:cMediaNode vol="80000">
                <p:cTn id="3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6"/>
                </p:tgtEl>
              </p:cMediaNode>
            </p:audio>
            <p:seq concurrent="1" nextAc="seek">
              <p:cTn id="32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3" fill="hold">
                      <p:stCondLst>
                        <p:cond delay="0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6" dur="2400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  <p:audio>
              <p:cMediaNode vol="80000">
                <p:cTn id="3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8"/>
                </p:tgtEl>
              </p:cMediaNode>
            </p:audio>
            <p:seq concurrent="1" nextAc="seek">
              <p:cTn id="38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9" fill="hold">
                      <p:stCondLst>
                        <p:cond delay="0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2" dur="2400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  <p:audio>
              <p:cMediaNode vol="80000">
                <p:cTn id="4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9"/>
                </p:tgtEl>
              </p:cMediaNode>
            </p:audio>
            <p:seq concurrent="1" nextAc="seek">
              <p:cTn id="44" restart="whenNotActive" fill="hold" evtFilter="cancelBubble" nodeType="interactiveSeq">
                <p:stCondLst>
                  <p:cond evt="onClick" delay="0">
                    <p:tgtEl>
                      <p:spTgt spid="2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5" fill="hold">
                      <p:stCondLst>
                        <p:cond delay="0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8" dur="3369" fill="hold"/>
                                        <p:tgtEl>
                                          <p:spTgt spid="2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8"/>
                  </p:tgtEl>
                </p:cond>
              </p:nextCondLst>
            </p:seq>
            <p:audio>
              <p:cMediaNode vol="80000">
                <p:cTn id="4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8"/>
                </p:tgtEl>
              </p:cMediaNode>
            </p:audi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/>
              <a:t>Wiener filter: Theory and Experiments</a:t>
            </a:r>
            <a:endParaRPr lang="zh-TW" altLang="en-US" dirty="0"/>
          </a:p>
        </p:txBody>
      </p:sp>
      <p:sp>
        <p:nvSpPr>
          <p:cNvPr id="5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7" name="Freeform 3"/>
          <p:cNvSpPr>
            <a:spLocks/>
          </p:cNvSpPr>
          <p:nvPr/>
        </p:nvSpPr>
        <p:spPr bwMode="gray">
          <a:xfrm>
            <a:off x="5187859" y="2409418"/>
            <a:ext cx="952187" cy="324000"/>
          </a:xfrm>
          <a:custGeom>
            <a:avLst/>
            <a:gdLst>
              <a:gd name="T0" fmla="*/ 653 w 653"/>
              <a:gd name="T1" fmla="*/ 4 h 261"/>
              <a:gd name="T2" fmla="*/ 435 w 653"/>
              <a:gd name="T3" fmla="*/ 121 h 261"/>
              <a:gd name="T4" fmla="*/ 517 w 653"/>
              <a:gd name="T5" fmla="*/ 121 h 261"/>
              <a:gd name="T6" fmla="*/ 325 w 653"/>
              <a:gd name="T7" fmla="*/ 201 h 261"/>
              <a:gd name="T8" fmla="*/ 121 w 653"/>
              <a:gd name="T9" fmla="*/ 120 h 261"/>
              <a:gd name="T10" fmla="*/ 217 w 653"/>
              <a:gd name="T11" fmla="*/ 121 h 261"/>
              <a:gd name="T12" fmla="*/ 0 w 653"/>
              <a:gd name="T13" fmla="*/ 0 h 261"/>
              <a:gd name="T14" fmla="*/ 653 w 653"/>
              <a:gd name="T15" fmla="*/ 4 h 2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53"/>
              <a:gd name="T25" fmla="*/ 0 h 261"/>
              <a:gd name="T26" fmla="*/ 653 w 653"/>
              <a:gd name="T27" fmla="*/ 261 h 26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53" h="261">
                <a:moveTo>
                  <a:pt x="653" y="4"/>
                </a:moveTo>
                <a:lnTo>
                  <a:pt x="435" y="157"/>
                </a:lnTo>
                <a:lnTo>
                  <a:pt x="517" y="157"/>
                </a:lnTo>
                <a:lnTo>
                  <a:pt x="325" y="261"/>
                </a:lnTo>
                <a:lnTo>
                  <a:pt x="121" y="154"/>
                </a:lnTo>
                <a:lnTo>
                  <a:pt x="217" y="157"/>
                </a:lnTo>
                <a:lnTo>
                  <a:pt x="0" y="0"/>
                </a:lnTo>
                <a:lnTo>
                  <a:pt x="653" y="4"/>
                </a:lnTo>
                <a:close/>
              </a:path>
            </a:pathLst>
          </a:custGeom>
          <a:solidFill>
            <a:srgbClr val="E0AD1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lIns="45720" tIns="44450" rIns="45720" bIns="44450" anchor="ctr" anchorCtr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gray">
          <a:xfrm>
            <a:off x="2984464" y="1700807"/>
            <a:ext cx="5544616" cy="612000"/>
          </a:xfrm>
          <a:prstGeom prst="flowChartAlternateProcess">
            <a:avLst/>
          </a:prstGeom>
          <a:solidFill>
            <a:srgbClr val="12529F"/>
          </a:solidFill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tIns="44450" rIns="45720" bIns="44450" anchor="ctr" anchorCtr="1"/>
          <a:lstStyle>
            <a:lvl1pPr eaLnBrk="0" hangingPunct="0">
              <a:spcBef>
                <a:spcPct val="20000"/>
              </a:spcBef>
              <a:buChar char="•"/>
              <a:defRPr kumimoji="1" sz="28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24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0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2000" kern="0" dirty="0">
                <a:solidFill>
                  <a:schemeClr val="bg1"/>
                </a:solidFill>
                <a:latin typeface="Arial" panose="020B0604020202020204" pitchFamily="34" charset="0"/>
                <a:ea typeface="新細明體" panose="02020500000000000000" pitchFamily="18" charset="-120"/>
              </a:rPr>
              <a:t>Step1: wav access and input process</a:t>
            </a:r>
          </a:p>
        </p:txBody>
      </p:sp>
      <p:sp>
        <p:nvSpPr>
          <p:cNvPr id="9" name="Freeform 5"/>
          <p:cNvSpPr>
            <a:spLocks/>
          </p:cNvSpPr>
          <p:nvPr/>
        </p:nvSpPr>
        <p:spPr bwMode="gray">
          <a:xfrm>
            <a:off x="5187859" y="3501008"/>
            <a:ext cx="952187" cy="324000"/>
          </a:xfrm>
          <a:custGeom>
            <a:avLst/>
            <a:gdLst>
              <a:gd name="T0" fmla="*/ 653 w 653"/>
              <a:gd name="T1" fmla="*/ 4 h 261"/>
              <a:gd name="T2" fmla="*/ 435 w 653"/>
              <a:gd name="T3" fmla="*/ 121 h 261"/>
              <a:gd name="T4" fmla="*/ 517 w 653"/>
              <a:gd name="T5" fmla="*/ 121 h 261"/>
              <a:gd name="T6" fmla="*/ 325 w 653"/>
              <a:gd name="T7" fmla="*/ 201 h 261"/>
              <a:gd name="T8" fmla="*/ 121 w 653"/>
              <a:gd name="T9" fmla="*/ 120 h 261"/>
              <a:gd name="T10" fmla="*/ 217 w 653"/>
              <a:gd name="T11" fmla="*/ 121 h 261"/>
              <a:gd name="T12" fmla="*/ 0 w 653"/>
              <a:gd name="T13" fmla="*/ 0 h 261"/>
              <a:gd name="T14" fmla="*/ 653 w 653"/>
              <a:gd name="T15" fmla="*/ 4 h 2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53"/>
              <a:gd name="T25" fmla="*/ 0 h 261"/>
              <a:gd name="T26" fmla="*/ 653 w 653"/>
              <a:gd name="T27" fmla="*/ 261 h 26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53" h="261">
                <a:moveTo>
                  <a:pt x="653" y="4"/>
                </a:moveTo>
                <a:lnTo>
                  <a:pt x="435" y="157"/>
                </a:lnTo>
                <a:lnTo>
                  <a:pt x="517" y="157"/>
                </a:lnTo>
                <a:lnTo>
                  <a:pt x="325" y="261"/>
                </a:lnTo>
                <a:lnTo>
                  <a:pt x="121" y="154"/>
                </a:lnTo>
                <a:lnTo>
                  <a:pt x="217" y="157"/>
                </a:lnTo>
                <a:lnTo>
                  <a:pt x="0" y="0"/>
                </a:lnTo>
                <a:lnTo>
                  <a:pt x="653" y="4"/>
                </a:lnTo>
                <a:close/>
              </a:path>
            </a:pathLst>
          </a:custGeom>
          <a:solidFill>
            <a:srgbClr val="E0AD1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45720" tIns="44450" rIns="45720" bIns="44450" anchor="ctr" anchorCtr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gray">
          <a:xfrm>
            <a:off x="2984464" y="2780928"/>
            <a:ext cx="5544616" cy="612000"/>
          </a:xfrm>
          <a:prstGeom prst="flowChartAlternateProcess">
            <a:avLst/>
          </a:prstGeom>
          <a:solidFill>
            <a:srgbClr val="7F7F7F"/>
          </a:solidFill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lIns="45720" tIns="44450" rIns="45720" bIns="44450" anchor="ctr" anchorCtr="1"/>
          <a:lstStyle>
            <a:lvl1pPr eaLnBrk="0" hangingPunct="0">
              <a:spcBef>
                <a:spcPct val="20000"/>
              </a:spcBef>
              <a:buChar char="•"/>
              <a:defRPr kumimoji="1" sz="28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24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0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1800" kern="0">
                <a:solidFill>
                  <a:schemeClr val="bg1"/>
                </a:solidFill>
                <a:latin typeface="Arial" panose="020B0604020202020204" pitchFamily="34" charset="0"/>
                <a:ea typeface="新細明體" panose="02020500000000000000" pitchFamily="18" charset="-120"/>
              </a:rPr>
              <a:t>Step2: add different noises with different SNRs</a:t>
            </a:r>
          </a:p>
        </p:txBody>
      </p:sp>
      <p:sp>
        <p:nvSpPr>
          <p:cNvPr id="11" name="Freeform 7"/>
          <p:cNvSpPr>
            <a:spLocks/>
          </p:cNvSpPr>
          <p:nvPr/>
        </p:nvSpPr>
        <p:spPr bwMode="gray">
          <a:xfrm>
            <a:off x="5187859" y="4581128"/>
            <a:ext cx="952187" cy="324000"/>
          </a:xfrm>
          <a:custGeom>
            <a:avLst/>
            <a:gdLst>
              <a:gd name="T0" fmla="*/ 653 w 653"/>
              <a:gd name="T1" fmla="*/ 4 h 261"/>
              <a:gd name="T2" fmla="*/ 435 w 653"/>
              <a:gd name="T3" fmla="*/ 121 h 261"/>
              <a:gd name="T4" fmla="*/ 517 w 653"/>
              <a:gd name="T5" fmla="*/ 121 h 261"/>
              <a:gd name="T6" fmla="*/ 325 w 653"/>
              <a:gd name="T7" fmla="*/ 201 h 261"/>
              <a:gd name="T8" fmla="*/ 121 w 653"/>
              <a:gd name="T9" fmla="*/ 120 h 261"/>
              <a:gd name="T10" fmla="*/ 217 w 653"/>
              <a:gd name="T11" fmla="*/ 121 h 261"/>
              <a:gd name="T12" fmla="*/ 0 w 653"/>
              <a:gd name="T13" fmla="*/ 0 h 261"/>
              <a:gd name="T14" fmla="*/ 653 w 653"/>
              <a:gd name="T15" fmla="*/ 4 h 2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53"/>
              <a:gd name="T25" fmla="*/ 0 h 261"/>
              <a:gd name="T26" fmla="*/ 653 w 653"/>
              <a:gd name="T27" fmla="*/ 261 h 26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53" h="261">
                <a:moveTo>
                  <a:pt x="653" y="4"/>
                </a:moveTo>
                <a:lnTo>
                  <a:pt x="435" y="157"/>
                </a:lnTo>
                <a:lnTo>
                  <a:pt x="517" y="157"/>
                </a:lnTo>
                <a:lnTo>
                  <a:pt x="325" y="261"/>
                </a:lnTo>
                <a:lnTo>
                  <a:pt x="121" y="154"/>
                </a:lnTo>
                <a:lnTo>
                  <a:pt x="217" y="157"/>
                </a:lnTo>
                <a:lnTo>
                  <a:pt x="0" y="0"/>
                </a:lnTo>
                <a:lnTo>
                  <a:pt x="653" y="4"/>
                </a:lnTo>
                <a:close/>
              </a:path>
            </a:pathLst>
          </a:custGeom>
          <a:solidFill>
            <a:srgbClr val="E0AD1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45720" tIns="44450" rIns="45720" bIns="44450" anchor="ctr" anchorCtr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2" name="AutoShape 8"/>
          <p:cNvSpPr>
            <a:spLocks noChangeArrowheads="1"/>
          </p:cNvSpPr>
          <p:nvPr/>
        </p:nvSpPr>
        <p:spPr bwMode="gray">
          <a:xfrm>
            <a:off x="2984464" y="3861048"/>
            <a:ext cx="5544616" cy="612000"/>
          </a:xfrm>
          <a:prstGeom prst="flowChartAlternateProcess">
            <a:avLst/>
          </a:prstGeom>
          <a:solidFill>
            <a:srgbClr val="12529F"/>
          </a:solidFill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tIns="44450" rIns="45720" bIns="44450" anchor="ctr" anchorCtr="1"/>
          <a:lstStyle>
            <a:lvl1pPr eaLnBrk="0" hangingPunct="0">
              <a:spcBef>
                <a:spcPct val="20000"/>
              </a:spcBef>
              <a:buChar char="•"/>
              <a:defRPr kumimoji="1" sz="28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24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0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1800" kern="0">
                <a:solidFill>
                  <a:schemeClr val="bg1"/>
                </a:solidFill>
                <a:latin typeface="Arial" panose="020B0604020202020204" pitchFamily="34" charset="0"/>
                <a:ea typeface="新細明體" panose="02020500000000000000" pitchFamily="18" charset="-120"/>
              </a:rPr>
              <a:t>Step3:  use Wiener filter and output wav</a:t>
            </a:r>
          </a:p>
        </p:txBody>
      </p:sp>
      <p:sp>
        <p:nvSpPr>
          <p:cNvPr id="13" name="AutoShape 9"/>
          <p:cNvSpPr>
            <a:spLocks noChangeArrowheads="1"/>
          </p:cNvSpPr>
          <p:nvPr/>
        </p:nvSpPr>
        <p:spPr bwMode="gray">
          <a:xfrm>
            <a:off x="2984464" y="4941168"/>
            <a:ext cx="5544616" cy="612000"/>
          </a:xfrm>
          <a:prstGeom prst="flowChartAlternateProcess">
            <a:avLst/>
          </a:prstGeom>
          <a:solidFill>
            <a:srgbClr val="7F7F7F"/>
          </a:solidFill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lIns="45720" tIns="44450" rIns="45720" bIns="44450" anchor="ctr" anchorCtr="1"/>
          <a:lstStyle>
            <a:lvl1pPr eaLnBrk="0" hangingPunct="0">
              <a:spcBef>
                <a:spcPct val="20000"/>
              </a:spcBef>
              <a:buChar char="•"/>
              <a:defRPr kumimoji="1" sz="28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24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0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1800" kern="0">
                <a:solidFill>
                  <a:schemeClr val="bg1"/>
                </a:solidFill>
                <a:latin typeface="Arial" panose="020B0604020202020204" pitchFamily="34" charset="0"/>
                <a:ea typeface="新細明體" panose="02020500000000000000" pitchFamily="18" charset="-120"/>
              </a:rPr>
              <a:t>Step4:  performance evaluation</a:t>
            </a:r>
          </a:p>
        </p:txBody>
      </p:sp>
      <p:sp>
        <p:nvSpPr>
          <p:cNvPr id="14" name="Freeform 7"/>
          <p:cNvSpPr>
            <a:spLocks/>
          </p:cNvSpPr>
          <p:nvPr/>
        </p:nvSpPr>
        <p:spPr bwMode="gray">
          <a:xfrm>
            <a:off x="5203051" y="5661248"/>
            <a:ext cx="952187" cy="324000"/>
          </a:xfrm>
          <a:custGeom>
            <a:avLst/>
            <a:gdLst>
              <a:gd name="T0" fmla="*/ 653 w 653"/>
              <a:gd name="T1" fmla="*/ 4 h 261"/>
              <a:gd name="T2" fmla="*/ 435 w 653"/>
              <a:gd name="T3" fmla="*/ 121 h 261"/>
              <a:gd name="T4" fmla="*/ 517 w 653"/>
              <a:gd name="T5" fmla="*/ 121 h 261"/>
              <a:gd name="T6" fmla="*/ 325 w 653"/>
              <a:gd name="T7" fmla="*/ 201 h 261"/>
              <a:gd name="T8" fmla="*/ 121 w 653"/>
              <a:gd name="T9" fmla="*/ 120 h 261"/>
              <a:gd name="T10" fmla="*/ 217 w 653"/>
              <a:gd name="T11" fmla="*/ 121 h 261"/>
              <a:gd name="T12" fmla="*/ 0 w 653"/>
              <a:gd name="T13" fmla="*/ 0 h 261"/>
              <a:gd name="T14" fmla="*/ 653 w 653"/>
              <a:gd name="T15" fmla="*/ 4 h 2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53"/>
              <a:gd name="T25" fmla="*/ 0 h 261"/>
              <a:gd name="T26" fmla="*/ 653 w 653"/>
              <a:gd name="T27" fmla="*/ 261 h 26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53" h="261">
                <a:moveTo>
                  <a:pt x="653" y="4"/>
                </a:moveTo>
                <a:lnTo>
                  <a:pt x="435" y="157"/>
                </a:lnTo>
                <a:lnTo>
                  <a:pt x="517" y="157"/>
                </a:lnTo>
                <a:lnTo>
                  <a:pt x="325" y="261"/>
                </a:lnTo>
                <a:lnTo>
                  <a:pt x="121" y="154"/>
                </a:lnTo>
                <a:lnTo>
                  <a:pt x="217" y="157"/>
                </a:lnTo>
                <a:lnTo>
                  <a:pt x="0" y="0"/>
                </a:lnTo>
                <a:lnTo>
                  <a:pt x="653" y="4"/>
                </a:lnTo>
                <a:close/>
              </a:path>
            </a:pathLst>
          </a:custGeom>
          <a:solidFill>
            <a:srgbClr val="E0AD1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45720" tIns="44450" rIns="45720" bIns="44450" anchor="ctr" anchorCtr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5" name="AutoShape 9"/>
          <p:cNvSpPr>
            <a:spLocks noChangeArrowheads="1"/>
          </p:cNvSpPr>
          <p:nvPr/>
        </p:nvSpPr>
        <p:spPr bwMode="gray">
          <a:xfrm>
            <a:off x="2999656" y="6021288"/>
            <a:ext cx="5544616" cy="612000"/>
          </a:xfrm>
          <a:prstGeom prst="flowChartAlternateProcess">
            <a:avLst/>
          </a:prstGeom>
          <a:solidFill>
            <a:srgbClr val="12529F"/>
          </a:solidFill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tIns="44450" rIns="45720" bIns="44450" anchor="ctr" anchorCtr="1"/>
          <a:lstStyle>
            <a:lvl1pPr eaLnBrk="0" hangingPunct="0">
              <a:spcBef>
                <a:spcPct val="20000"/>
              </a:spcBef>
              <a:buChar char="•"/>
              <a:defRPr kumimoji="1" sz="28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24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0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1800" kern="0" dirty="0">
                <a:solidFill>
                  <a:schemeClr val="bg1"/>
                </a:solidFill>
                <a:latin typeface="Arial" panose="020B0604020202020204" pitchFamily="34" charset="0"/>
                <a:ea typeface="新細明體" panose="02020500000000000000" pitchFamily="18" charset="-120"/>
              </a:rPr>
              <a:t>Step5:  Analysis and discussion</a:t>
            </a:r>
          </a:p>
        </p:txBody>
      </p:sp>
    </p:spTree>
    <p:extLst>
      <p:ext uri="{BB962C8B-B14F-4D97-AF65-F5344CB8AC3E}">
        <p14:creationId xmlns:p14="http://schemas.microsoft.com/office/powerpoint/2010/main" val="13223371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Suggestions</a:t>
            </a:r>
            <a:endParaRPr lang="zh-TW" altLang="en-US" dirty="0"/>
          </a:p>
        </p:txBody>
      </p:sp>
      <p:graphicFrame>
        <p:nvGraphicFramePr>
          <p:cNvPr id="4" name="內容版面配置區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18095015"/>
              </p:ext>
            </p:extLst>
          </p:nvPr>
        </p:nvGraphicFramePr>
        <p:xfrm>
          <a:off x="2207568" y="1724744"/>
          <a:ext cx="7497762" cy="480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72124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b="1" dirty="0">
                <a:solidFill>
                  <a:srgbClr val="0E457D"/>
                </a:solidFill>
              </a:rPr>
              <a:t>課程規範 </a:t>
            </a:r>
            <a:r>
              <a:rPr lang="en-US" altLang="zh-TW" b="1" dirty="0">
                <a:solidFill>
                  <a:srgbClr val="0E457D"/>
                </a:solidFill>
              </a:rPr>
              <a:t>(1/2)</a:t>
            </a:r>
            <a:endParaRPr lang="zh-TW" altLang="en-US" b="1" dirty="0">
              <a:solidFill>
                <a:srgbClr val="0E457D"/>
              </a:solidFill>
            </a:endParaRP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6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0" name="文本框 52"/>
          <p:cNvSpPr txBox="1"/>
          <p:nvPr/>
        </p:nvSpPr>
        <p:spPr>
          <a:xfrm>
            <a:off x="1775520" y="1844824"/>
            <a:ext cx="9846537" cy="1323278"/>
          </a:xfrm>
          <a:prstGeom prst="rect">
            <a:avLst/>
          </a:prstGeom>
          <a:noFill/>
        </p:spPr>
        <p:txBody>
          <a:bodyPr wrap="square" lIns="91294" tIns="45640" rIns="91294" bIns="45640" rtlCol="0">
            <a:spAutoFit/>
          </a:bodyPr>
          <a:lstStyle/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zh-TW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14</a:t>
            </a:r>
            <a:r>
              <a:rPr kumimoji="0" lang="en-US" altLang="zh-CN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:10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未到者以遲到計：總成績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-1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分。</a:t>
            </a:r>
            <a:endParaRPr kumimoji="0" lang="en-US" altLang="zh-TW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zh-TW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14</a:t>
            </a:r>
            <a:r>
              <a:rPr kumimoji="0" lang="en-US" altLang="zh-CN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:30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未到者以曠課計：總成績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-2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分，且當次作業成績以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0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分計算。</a:t>
            </a:r>
            <a:endParaRPr kumimoji="0" lang="en-US" altLang="zh-TW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點名時</a:t>
            </a:r>
            <a:r>
              <a:rPr kumimoji="0" lang="zh-TW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人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一定要在現場，不在</a:t>
            </a:r>
            <a:r>
              <a:rPr kumimoji="0" lang="zh-TW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位上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以遲到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/</a:t>
            </a:r>
            <a:r>
              <a:rPr kumimoji="0" lang="zh-TW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曠課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論，如有要事暫時離開請先告知助教</a:t>
            </a:r>
            <a:r>
              <a:rPr kumimoji="0" lang="zh-TW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。</a:t>
            </a:r>
            <a:endParaRPr kumimoji="0" lang="en-US" altLang="zh-TW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超過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3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次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(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含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)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曠課者，期末總成績不及格。</a:t>
            </a:r>
          </a:p>
        </p:txBody>
      </p:sp>
      <p:sp>
        <p:nvSpPr>
          <p:cNvPr id="21" name="矩形 20"/>
          <p:cNvSpPr/>
          <p:nvPr/>
        </p:nvSpPr>
        <p:spPr>
          <a:xfrm>
            <a:off x="782376" y="1603422"/>
            <a:ext cx="1210293" cy="399948"/>
          </a:xfrm>
          <a:prstGeom prst="rect">
            <a:avLst/>
          </a:prstGeom>
          <a:effectLst/>
        </p:spPr>
        <p:txBody>
          <a:bodyPr wrap="none" lIns="91294" tIns="45640" rIns="91294" bIns="45640">
            <a:spAutoFit/>
          </a:bodyPr>
          <a:lstStyle/>
          <a:p>
            <a:pPr marL="0" marR="0" lvl="0" indent="0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出勤規則</a:t>
            </a:r>
            <a:endParaRPr kumimoji="0" lang="zh-CN" altLang="en-US" sz="2000" b="0" i="0" u="none" strike="noStrike" kern="0" cap="none" spc="0" normalizeH="0" baseline="0" noProof="0" dirty="0">
              <a:ln>
                <a:noFill/>
              </a:ln>
              <a:solidFill>
                <a:srgbClr val="0E457D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2" name="文本框 56"/>
          <p:cNvSpPr txBox="1"/>
          <p:nvPr/>
        </p:nvSpPr>
        <p:spPr>
          <a:xfrm>
            <a:off x="1775520" y="3823796"/>
            <a:ext cx="9846537" cy="707725"/>
          </a:xfrm>
          <a:prstGeom prst="rect">
            <a:avLst/>
          </a:prstGeom>
          <a:noFill/>
        </p:spPr>
        <p:txBody>
          <a:bodyPr wrap="square" lIns="91294" tIns="45640" rIns="91294" bIns="45640" rtlCol="0">
            <a:spAutoFit/>
          </a:bodyPr>
          <a:lstStyle/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公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/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事假須在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3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天前到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Portal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辦理網路請假，未請假者以曠課計</a:t>
            </a:r>
            <a:r>
              <a:rPr kumimoji="0" lang="zh-CN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。</a:t>
            </a:r>
            <a:endParaRPr kumimoji="0" lang="en-US" altLang="zh-CN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病假請在下次上課前將病假證明送至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70639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給助教，未提供者以曠課計。</a:t>
            </a:r>
            <a:endParaRPr kumimoji="0" lang="en-US" altLang="zh-TW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782376" y="3433975"/>
            <a:ext cx="1210293" cy="399948"/>
          </a:xfrm>
          <a:prstGeom prst="rect">
            <a:avLst/>
          </a:prstGeom>
          <a:effectLst/>
        </p:spPr>
        <p:txBody>
          <a:bodyPr wrap="none" lIns="91294" tIns="45640" rIns="91294" bIns="45640">
            <a:spAutoFit/>
          </a:bodyPr>
          <a:lstStyle/>
          <a:p>
            <a:pPr marL="0" marR="0" lvl="0" indent="0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請假規則</a:t>
            </a:r>
            <a:endParaRPr kumimoji="0" lang="zh-CN" altLang="en-US" sz="2000" b="0" i="0" u="none" strike="noStrike" kern="0" cap="none" spc="0" normalizeH="0" baseline="0" noProof="0" dirty="0">
              <a:ln>
                <a:noFill/>
              </a:ln>
              <a:solidFill>
                <a:srgbClr val="0E457D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4" name="文本框 59"/>
          <p:cNvSpPr txBox="1"/>
          <p:nvPr/>
        </p:nvSpPr>
        <p:spPr>
          <a:xfrm>
            <a:off x="1775520" y="5373216"/>
            <a:ext cx="9846537" cy="707725"/>
          </a:xfrm>
          <a:prstGeom prst="rect">
            <a:avLst/>
          </a:prstGeom>
          <a:noFill/>
        </p:spPr>
        <p:txBody>
          <a:bodyPr wrap="square" lIns="91294" tIns="45640" rIns="91294" bIns="45640" rtlCol="0">
            <a:spAutoFit/>
          </a:bodyPr>
          <a:lstStyle/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作業請於課程結束當日上傳至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Portal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，逾時繳交以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0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分計算，請假者請參照補交規定。</a:t>
            </a:r>
            <a:endParaRPr kumimoji="0" lang="en-US" altLang="zh-TW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作業、專題抄襲者以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0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分計算。</a:t>
            </a:r>
            <a:endParaRPr kumimoji="0" lang="en-US" altLang="zh-TW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782376" y="4914043"/>
            <a:ext cx="1723254" cy="399948"/>
          </a:xfrm>
          <a:prstGeom prst="rect">
            <a:avLst/>
          </a:prstGeom>
          <a:effectLst/>
        </p:spPr>
        <p:txBody>
          <a:bodyPr wrap="none" lIns="91294" tIns="45640" rIns="91294" bIns="45640">
            <a:spAutoFit/>
          </a:bodyPr>
          <a:lstStyle/>
          <a:p>
            <a:pPr marL="0" marR="0" lvl="0" indent="0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作業繳交規定</a:t>
            </a:r>
            <a:endParaRPr kumimoji="0" lang="zh-CN" altLang="en-US" sz="2000" b="0" i="0" u="none" strike="noStrike" kern="0" cap="none" spc="0" normalizeH="0" baseline="0" noProof="0" dirty="0">
              <a:ln>
                <a:noFill/>
              </a:ln>
              <a:solidFill>
                <a:srgbClr val="0E457D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</p:txBody>
      </p:sp>
      <p:grpSp>
        <p:nvGrpSpPr>
          <p:cNvPr id="6" name="群組 5"/>
          <p:cNvGrpSpPr/>
          <p:nvPr/>
        </p:nvGrpSpPr>
        <p:grpSpPr>
          <a:xfrm>
            <a:off x="1019361" y="2222679"/>
            <a:ext cx="684151" cy="603132"/>
            <a:chOff x="866568" y="1806294"/>
            <a:chExt cx="684151" cy="603132"/>
          </a:xfrm>
        </p:grpSpPr>
        <p:sp>
          <p:nvSpPr>
            <p:cNvPr id="15" name="圆角矩形 50"/>
            <p:cNvSpPr/>
            <p:nvPr/>
          </p:nvSpPr>
          <p:spPr>
            <a:xfrm>
              <a:off x="866568" y="1806294"/>
              <a:ext cx="684151" cy="603132"/>
            </a:xfrm>
            <a:prstGeom prst="roundRect">
              <a:avLst/>
            </a:prstGeom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A5A5A5">
                    <a:lumMod val="45000"/>
                    <a:lumOff val="55000"/>
                  </a:srgbClr>
                </a:gs>
                <a:gs pos="83000">
                  <a:srgbClr val="A5A5A5">
                    <a:lumMod val="45000"/>
                    <a:lumOff val="55000"/>
                  </a:srgbClr>
                </a:gs>
                <a:gs pos="100000">
                  <a:srgbClr val="A5A5A5">
                    <a:lumMod val="30000"/>
                    <a:lumOff val="70000"/>
                  </a:srgbClr>
                </a:gs>
              </a:gsLst>
              <a:lin ang="18900000" scaled="1"/>
              <a:tileRect/>
            </a:gradFill>
            <a:ln w="12700" cap="flat" cmpd="sng" algn="ctr">
              <a:gradFill flip="none" rotWithShape="1">
                <a:gsLst>
                  <a:gs pos="0">
                    <a:srgbClr val="A5A5A5">
                      <a:lumMod val="5000"/>
                      <a:lumOff val="95000"/>
                    </a:srgbClr>
                  </a:gs>
                  <a:gs pos="74000">
                    <a:srgbClr val="A5A5A5">
                      <a:lumMod val="45000"/>
                      <a:lumOff val="55000"/>
                    </a:srgbClr>
                  </a:gs>
                  <a:gs pos="83000">
                    <a:srgbClr val="A5A5A5">
                      <a:lumMod val="45000"/>
                      <a:lumOff val="55000"/>
                    </a:srgbClr>
                  </a:gs>
                  <a:gs pos="100000">
                    <a:srgbClr val="A5A5A5">
                      <a:lumMod val="30000"/>
                      <a:lumOff val="70000"/>
                    </a:srgbClr>
                  </a:gs>
                </a:gsLst>
                <a:lin ang="8100000" scaled="1"/>
                <a:tileRect/>
              </a:gradFill>
              <a:prstDash val="solid"/>
              <a:miter lim="800000"/>
            </a:ln>
            <a:effectLst>
              <a:outerShdw blurRad="127000" dist="50800" dir="8100000" algn="tr" rotWithShape="0">
                <a:sysClr val="window" lastClr="FFFFFF">
                  <a:lumMod val="50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914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29" name="Freeform 312"/>
            <p:cNvSpPr/>
            <p:nvPr/>
          </p:nvSpPr>
          <p:spPr>
            <a:xfrm>
              <a:off x="992289" y="1891617"/>
              <a:ext cx="432708" cy="432486"/>
            </a:xfrm>
            <a:custGeom>
              <a:avLst/>
              <a:gdLst>
                <a:gd name="connsiteX0" fmla="*/ 225369 w 432708"/>
                <a:gd name="connsiteY0" fmla="*/ 108177 h 432707"/>
                <a:gd name="connsiteX1" fmla="*/ 243399 w 432708"/>
                <a:gd name="connsiteY1" fmla="*/ 108177 h 432707"/>
                <a:gd name="connsiteX2" fmla="*/ 249878 w 432708"/>
                <a:gd name="connsiteY2" fmla="*/ 110712 h 432707"/>
                <a:gd name="connsiteX3" fmla="*/ 252414 w 432708"/>
                <a:gd name="connsiteY3" fmla="*/ 117191 h 432707"/>
                <a:gd name="connsiteX4" fmla="*/ 252414 w 432708"/>
                <a:gd name="connsiteY4" fmla="*/ 243398 h 432707"/>
                <a:gd name="connsiteX5" fmla="*/ 249878 w 432708"/>
                <a:gd name="connsiteY5" fmla="*/ 249877 h 432707"/>
                <a:gd name="connsiteX6" fmla="*/ 243399 w 432708"/>
                <a:gd name="connsiteY6" fmla="*/ 252412 h 432707"/>
                <a:gd name="connsiteX7" fmla="*/ 153252 w 432708"/>
                <a:gd name="connsiteY7" fmla="*/ 252412 h 432707"/>
                <a:gd name="connsiteX8" fmla="*/ 146772 w 432708"/>
                <a:gd name="connsiteY8" fmla="*/ 249877 h 432707"/>
                <a:gd name="connsiteX9" fmla="*/ 144237 w 432708"/>
                <a:gd name="connsiteY9" fmla="*/ 243398 h 432707"/>
                <a:gd name="connsiteX10" fmla="*/ 144237 w 432708"/>
                <a:gd name="connsiteY10" fmla="*/ 225368 h 432707"/>
                <a:gd name="connsiteX11" fmla="*/ 146772 w 432708"/>
                <a:gd name="connsiteY11" fmla="*/ 218889 h 432707"/>
                <a:gd name="connsiteX12" fmla="*/ 153252 w 432708"/>
                <a:gd name="connsiteY12" fmla="*/ 216354 h 432707"/>
                <a:gd name="connsiteX13" fmla="*/ 216355 w 432708"/>
                <a:gd name="connsiteY13" fmla="*/ 216354 h 432707"/>
                <a:gd name="connsiteX14" fmla="*/ 216355 w 432708"/>
                <a:gd name="connsiteY14" fmla="*/ 117191 h 432707"/>
                <a:gd name="connsiteX15" fmla="*/ 218890 w 432708"/>
                <a:gd name="connsiteY15" fmla="*/ 110712 h 432707"/>
                <a:gd name="connsiteX16" fmla="*/ 225369 w 432708"/>
                <a:gd name="connsiteY16" fmla="*/ 108177 h 432707"/>
                <a:gd name="connsiteX17" fmla="*/ 216354 w 432708"/>
                <a:gd name="connsiteY17" fmla="*/ 63103 h 432707"/>
                <a:gd name="connsiteX18" fmla="*/ 139447 w 432708"/>
                <a:gd name="connsiteY18" fmla="*/ 83668 h 432707"/>
                <a:gd name="connsiteX19" fmla="*/ 83668 w 432708"/>
                <a:gd name="connsiteY19" fmla="*/ 139447 h 432707"/>
                <a:gd name="connsiteX20" fmla="*/ 63103 w 432708"/>
                <a:gd name="connsiteY20" fmla="*/ 216354 h 432707"/>
                <a:gd name="connsiteX21" fmla="*/ 83668 w 432708"/>
                <a:gd name="connsiteY21" fmla="*/ 293260 h 432707"/>
                <a:gd name="connsiteX22" fmla="*/ 139447 w 432708"/>
                <a:gd name="connsiteY22" fmla="*/ 349039 h 432707"/>
                <a:gd name="connsiteX23" fmla="*/ 216354 w 432708"/>
                <a:gd name="connsiteY23" fmla="*/ 369604 h 432707"/>
                <a:gd name="connsiteX24" fmla="*/ 293261 w 432708"/>
                <a:gd name="connsiteY24" fmla="*/ 349039 h 432707"/>
                <a:gd name="connsiteX25" fmla="*/ 349039 w 432708"/>
                <a:gd name="connsiteY25" fmla="*/ 293260 h 432707"/>
                <a:gd name="connsiteX26" fmla="*/ 369604 w 432708"/>
                <a:gd name="connsiteY26" fmla="*/ 216354 h 432707"/>
                <a:gd name="connsiteX27" fmla="*/ 349039 w 432708"/>
                <a:gd name="connsiteY27" fmla="*/ 139447 h 432707"/>
                <a:gd name="connsiteX28" fmla="*/ 293261 w 432708"/>
                <a:gd name="connsiteY28" fmla="*/ 83668 h 432707"/>
                <a:gd name="connsiteX29" fmla="*/ 216354 w 432708"/>
                <a:gd name="connsiteY29" fmla="*/ 63103 h 432707"/>
                <a:gd name="connsiteX30" fmla="*/ 216354 w 432708"/>
                <a:gd name="connsiteY30" fmla="*/ 0 h 432707"/>
                <a:gd name="connsiteX31" fmla="*/ 324953 w 432708"/>
                <a:gd name="connsiteY31" fmla="*/ 29016 h 432707"/>
                <a:gd name="connsiteX32" fmla="*/ 403692 w 432708"/>
                <a:gd name="connsiteY32" fmla="*/ 107754 h 432707"/>
                <a:gd name="connsiteX33" fmla="*/ 432708 w 432708"/>
                <a:gd name="connsiteY33" fmla="*/ 216354 h 432707"/>
                <a:gd name="connsiteX34" fmla="*/ 403692 w 432708"/>
                <a:gd name="connsiteY34" fmla="*/ 324953 h 432707"/>
                <a:gd name="connsiteX35" fmla="*/ 324953 w 432708"/>
                <a:gd name="connsiteY35" fmla="*/ 403691 h 432707"/>
                <a:gd name="connsiteX36" fmla="*/ 216354 w 432708"/>
                <a:gd name="connsiteY36" fmla="*/ 432707 h 432707"/>
                <a:gd name="connsiteX37" fmla="*/ 107755 w 432708"/>
                <a:gd name="connsiteY37" fmla="*/ 403691 h 432707"/>
                <a:gd name="connsiteX38" fmla="*/ 29016 w 432708"/>
                <a:gd name="connsiteY38" fmla="*/ 324953 h 432707"/>
                <a:gd name="connsiteX39" fmla="*/ 0 w 432708"/>
                <a:gd name="connsiteY39" fmla="*/ 216354 h 432707"/>
                <a:gd name="connsiteX40" fmla="*/ 29016 w 432708"/>
                <a:gd name="connsiteY40" fmla="*/ 107754 h 432707"/>
                <a:gd name="connsiteX41" fmla="*/ 107755 w 432708"/>
                <a:gd name="connsiteY41" fmla="*/ 29016 h 432707"/>
                <a:gd name="connsiteX42" fmla="*/ 216354 w 432708"/>
                <a:gd name="connsiteY42" fmla="*/ 0 h 43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432708" h="432707">
                  <a:moveTo>
                    <a:pt x="225369" y="108177"/>
                  </a:moveTo>
                  <a:lnTo>
                    <a:pt x="243399" y="108177"/>
                  </a:lnTo>
                  <a:cubicBezTo>
                    <a:pt x="246028" y="108177"/>
                    <a:pt x="248188" y="109022"/>
                    <a:pt x="249878" y="110712"/>
                  </a:cubicBezTo>
                  <a:cubicBezTo>
                    <a:pt x="251568" y="112402"/>
                    <a:pt x="252414" y="114562"/>
                    <a:pt x="252414" y="117191"/>
                  </a:cubicBezTo>
                  <a:lnTo>
                    <a:pt x="252414" y="243398"/>
                  </a:lnTo>
                  <a:cubicBezTo>
                    <a:pt x="252414" y="246027"/>
                    <a:pt x="251568" y="248187"/>
                    <a:pt x="249878" y="249877"/>
                  </a:cubicBezTo>
                  <a:cubicBezTo>
                    <a:pt x="248188" y="251567"/>
                    <a:pt x="246028" y="252412"/>
                    <a:pt x="243399" y="252412"/>
                  </a:cubicBezTo>
                  <a:lnTo>
                    <a:pt x="153252" y="252412"/>
                  </a:lnTo>
                  <a:cubicBezTo>
                    <a:pt x="150623" y="252412"/>
                    <a:pt x="148462" y="251567"/>
                    <a:pt x="146772" y="249877"/>
                  </a:cubicBezTo>
                  <a:cubicBezTo>
                    <a:pt x="145082" y="248187"/>
                    <a:pt x="144237" y="246027"/>
                    <a:pt x="144237" y="243398"/>
                  </a:cubicBezTo>
                  <a:lnTo>
                    <a:pt x="144237" y="225368"/>
                  </a:lnTo>
                  <a:cubicBezTo>
                    <a:pt x="144237" y="222739"/>
                    <a:pt x="145082" y="220579"/>
                    <a:pt x="146772" y="218889"/>
                  </a:cubicBezTo>
                  <a:cubicBezTo>
                    <a:pt x="148462" y="217199"/>
                    <a:pt x="150623" y="216354"/>
                    <a:pt x="153252" y="216354"/>
                  </a:cubicBezTo>
                  <a:lnTo>
                    <a:pt x="216355" y="216354"/>
                  </a:lnTo>
                  <a:lnTo>
                    <a:pt x="216355" y="117191"/>
                  </a:lnTo>
                  <a:cubicBezTo>
                    <a:pt x="216355" y="114562"/>
                    <a:pt x="217200" y="112402"/>
                    <a:pt x="218890" y="110712"/>
                  </a:cubicBezTo>
                  <a:cubicBezTo>
                    <a:pt x="220581" y="109022"/>
                    <a:pt x="222740" y="108177"/>
                    <a:pt x="225369" y="108177"/>
                  </a:cubicBezTo>
                  <a:close/>
                  <a:moveTo>
                    <a:pt x="216354" y="63103"/>
                  </a:moveTo>
                  <a:cubicBezTo>
                    <a:pt x="188558" y="63103"/>
                    <a:pt x="162923" y="69958"/>
                    <a:pt x="139447" y="83668"/>
                  </a:cubicBezTo>
                  <a:cubicBezTo>
                    <a:pt x="115971" y="97378"/>
                    <a:pt x="97378" y="115971"/>
                    <a:pt x="83668" y="139447"/>
                  </a:cubicBezTo>
                  <a:cubicBezTo>
                    <a:pt x="69958" y="162922"/>
                    <a:pt x="63103" y="188558"/>
                    <a:pt x="63103" y="216354"/>
                  </a:cubicBezTo>
                  <a:cubicBezTo>
                    <a:pt x="63103" y="244149"/>
                    <a:pt x="69958" y="269785"/>
                    <a:pt x="83668" y="293260"/>
                  </a:cubicBezTo>
                  <a:cubicBezTo>
                    <a:pt x="97378" y="316736"/>
                    <a:pt x="115971" y="335329"/>
                    <a:pt x="139447" y="349039"/>
                  </a:cubicBezTo>
                  <a:cubicBezTo>
                    <a:pt x="162923" y="362749"/>
                    <a:pt x="188558" y="369604"/>
                    <a:pt x="216354" y="369604"/>
                  </a:cubicBezTo>
                  <a:cubicBezTo>
                    <a:pt x="244150" y="369604"/>
                    <a:pt x="269785" y="362749"/>
                    <a:pt x="293261" y="349039"/>
                  </a:cubicBezTo>
                  <a:cubicBezTo>
                    <a:pt x="316737" y="335329"/>
                    <a:pt x="335330" y="316736"/>
                    <a:pt x="349039" y="293260"/>
                  </a:cubicBezTo>
                  <a:cubicBezTo>
                    <a:pt x="362750" y="269785"/>
                    <a:pt x="369604" y="244149"/>
                    <a:pt x="369604" y="216354"/>
                  </a:cubicBezTo>
                  <a:cubicBezTo>
                    <a:pt x="369604" y="188558"/>
                    <a:pt x="362750" y="162922"/>
                    <a:pt x="349039" y="139447"/>
                  </a:cubicBezTo>
                  <a:cubicBezTo>
                    <a:pt x="335330" y="115971"/>
                    <a:pt x="316737" y="97378"/>
                    <a:pt x="293261" y="83668"/>
                  </a:cubicBezTo>
                  <a:cubicBezTo>
                    <a:pt x="269785" y="69958"/>
                    <a:pt x="244150" y="63103"/>
                    <a:pt x="216354" y="63103"/>
                  </a:cubicBezTo>
                  <a:close/>
                  <a:moveTo>
                    <a:pt x="216354" y="0"/>
                  </a:moveTo>
                  <a:cubicBezTo>
                    <a:pt x="255606" y="0"/>
                    <a:pt x="291806" y="9672"/>
                    <a:pt x="324953" y="29016"/>
                  </a:cubicBezTo>
                  <a:cubicBezTo>
                    <a:pt x="358101" y="48360"/>
                    <a:pt x="384347" y="74606"/>
                    <a:pt x="403692" y="107754"/>
                  </a:cubicBezTo>
                  <a:cubicBezTo>
                    <a:pt x="423036" y="140902"/>
                    <a:pt x="432708" y="177102"/>
                    <a:pt x="432708" y="216354"/>
                  </a:cubicBezTo>
                  <a:cubicBezTo>
                    <a:pt x="432708" y="255605"/>
                    <a:pt x="423036" y="291805"/>
                    <a:pt x="403692" y="324953"/>
                  </a:cubicBezTo>
                  <a:cubicBezTo>
                    <a:pt x="384347" y="358101"/>
                    <a:pt x="358101" y="384347"/>
                    <a:pt x="324953" y="403691"/>
                  </a:cubicBezTo>
                  <a:cubicBezTo>
                    <a:pt x="291806" y="423035"/>
                    <a:pt x="255606" y="432707"/>
                    <a:pt x="216354" y="432707"/>
                  </a:cubicBezTo>
                  <a:cubicBezTo>
                    <a:pt x="177102" y="432707"/>
                    <a:pt x="140902" y="423035"/>
                    <a:pt x="107755" y="403691"/>
                  </a:cubicBezTo>
                  <a:cubicBezTo>
                    <a:pt x="74607" y="384347"/>
                    <a:pt x="48361" y="358101"/>
                    <a:pt x="29016" y="324953"/>
                  </a:cubicBezTo>
                  <a:cubicBezTo>
                    <a:pt x="9673" y="291805"/>
                    <a:pt x="0" y="255605"/>
                    <a:pt x="0" y="216354"/>
                  </a:cubicBezTo>
                  <a:cubicBezTo>
                    <a:pt x="0" y="177102"/>
                    <a:pt x="9673" y="140902"/>
                    <a:pt x="29016" y="107754"/>
                  </a:cubicBezTo>
                  <a:cubicBezTo>
                    <a:pt x="48361" y="74606"/>
                    <a:pt x="74607" y="48360"/>
                    <a:pt x="107755" y="29016"/>
                  </a:cubicBezTo>
                  <a:cubicBezTo>
                    <a:pt x="140902" y="9672"/>
                    <a:pt x="177102" y="0"/>
                    <a:pt x="216354" y="0"/>
                  </a:cubicBezTo>
                  <a:close/>
                </a:path>
              </a:pathLst>
            </a:custGeom>
            <a:solidFill>
              <a:srgbClr val="0E457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7" name="群組 36"/>
          <p:cNvGrpSpPr/>
          <p:nvPr/>
        </p:nvGrpSpPr>
        <p:grpSpPr>
          <a:xfrm>
            <a:off x="1019361" y="3872742"/>
            <a:ext cx="684151" cy="603132"/>
            <a:chOff x="866568" y="3130261"/>
            <a:chExt cx="684151" cy="603132"/>
          </a:xfrm>
        </p:grpSpPr>
        <p:sp>
          <p:nvSpPr>
            <p:cNvPr id="9" name="圆角矩形 44"/>
            <p:cNvSpPr/>
            <p:nvPr/>
          </p:nvSpPr>
          <p:spPr>
            <a:xfrm>
              <a:off x="866568" y="3130261"/>
              <a:ext cx="684151" cy="603132"/>
            </a:xfrm>
            <a:prstGeom prst="roundRect">
              <a:avLst/>
            </a:prstGeom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A5A5A5">
                    <a:lumMod val="45000"/>
                    <a:lumOff val="55000"/>
                  </a:srgbClr>
                </a:gs>
                <a:gs pos="83000">
                  <a:srgbClr val="A5A5A5">
                    <a:lumMod val="45000"/>
                    <a:lumOff val="55000"/>
                  </a:srgbClr>
                </a:gs>
                <a:gs pos="100000">
                  <a:srgbClr val="A5A5A5">
                    <a:lumMod val="30000"/>
                    <a:lumOff val="70000"/>
                  </a:srgbClr>
                </a:gs>
              </a:gsLst>
              <a:lin ang="18900000" scaled="1"/>
              <a:tileRect/>
            </a:gradFill>
            <a:ln w="12700" cap="flat" cmpd="sng" algn="ctr">
              <a:gradFill flip="none" rotWithShape="1">
                <a:gsLst>
                  <a:gs pos="0">
                    <a:srgbClr val="A5A5A5">
                      <a:lumMod val="5000"/>
                      <a:lumOff val="95000"/>
                    </a:srgbClr>
                  </a:gs>
                  <a:gs pos="74000">
                    <a:srgbClr val="A5A5A5">
                      <a:lumMod val="45000"/>
                      <a:lumOff val="55000"/>
                    </a:srgbClr>
                  </a:gs>
                  <a:gs pos="83000">
                    <a:srgbClr val="A5A5A5">
                      <a:lumMod val="45000"/>
                      <a:lumOff val="55000"/>
                    </a:srgbClr>
                  </a:gs>
                  <a:gs pos="100000">
                    <a:srgbClr val="A5A5A5">
                      <a:lumMod val="30000"/>
                      <a:lumOff val="70000"/>
                    </a:srgbClr>
                  </a:gs>
                </a:gsLst>
                <a:lin ang="8100000" scaled="1"/>
                <a:tileRect/>
              </a:gradFill>
              <a:prstDash val="solid"/>
              <a:miter lim="800000"/>
            </a:ln>
            <a:effectLst>
              <a:outerShdw blurRad="127000" dist="50800" dir="8100000" algn="tr" rotWithShape="0">
                <a:sysClr val="window" lastClr="FFFFFF">
                  <a:lumMod val="50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914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32" name="Freeform 321"/>
            <p:cNvSpPr/>
            <p:nvPr/>
          </p:nvSpPr>
          <p:spPr>
            <a:xfrm>
              <a:off x="952503" y="3239480"/>
              <a:ext cx="504825" cy="396445"/>
            </a:xfrm>
            <a:custGeom>
              <a:avLst/>
              <a:gdLst>
                <a:gd name="connsiteX0" fmla="*/ 153249 w 504825"/>
                <a:gd name="connsiteY0" fmla="*/ 288471 h 396648"/>
                <a:gd name="connsiteX1" fmla="*/ 423692 w 504825"/>
                <a:gd name="connsiteY1" fmla="*/ 288471 h 396648"/>
                <a:gd name="connsiteX2" fmla="*/ 430029 w 504825"/>
                <a:gd name="connsiteY2" fmla="*/ 291148 h 396648"/>
                <a:gd name="connsiteX3" fmla="*/ 432706 w 504825"/>
                <a:gd name="connsiteY3" fmla="*/ 297486 h 396648"/>
                <a:gd name="connsiteX4" fmla="*/ 432706 w 504825"/>
                <a:gd name="connsiteY4" fmla="*/ 315516 h 396648"/>
                <a:gd name="connsiteX5" fmla="*/ 430029 w 504825"/>
                <a:gd name="connsiteY5" fmla="*/ 321854 h 396648"/>
                <a:gd name="connsiteX6" fmla="*/ 423692 w 504825"/>
                <a:gd name="connsiteY6" fmla="*/ 324530 h 396648"/>
                <a:gd name="connsiteX7" fmla="*/ 153249 w 504825"/>
                <a:gd name="connsiteY7" fmla="*/ 324530 h 396648"/>
                <a:gd name="connsiteX8" fmla="*/ 146911 w 504825"/>
                <a:gd name="connsiteY8" fmla="*/ 321854 h 396648"/>
                <a:gd name="connsiteX9" fmla="*/ 144234 w 504825"/>
                <a:gd name="connsiteY9" fmla="*/ 315516 h 396648"/>
                <a:gd name="connsiteX10" fmla="*/ 144234 w 504825"/>
                <a:gd name="connsiteY10" fmla="*/ 297486 h 396648"/>
                <a:gd name="connsiteX11" fmla="*/ 146911 w 504825"/>
                <a:gd name="connsiteY11" fmla="*/ 291148 h 396648"/>
                <a:gd name="connsiteX12" fmla="*/ 153249 w 504825"/>
                <a:gd name="connsiteY12" fmla="*/ 288471 h 396648"/>
                <a:gd name="connsiteX13" fmla="*/ 81132 w 504825"/>
                <a:gd name="connsiteY13" fmla="*/ 288471 h 396648"/>
                <a:gd name="connsiteX14" fmla="*/ 99162 w 504825"/>
                <a:gd name="connsiteY14" fmla="*/ 288471 h 396648"/>
                <a:gd name="connsiteX15" fmla="*/ 105500 w 504825"/>
                <a:gd name="connsiteY15" fmla="*/ 291148 h 396648"/>
                <a:gd name="connsiteX16" fmla="*/ 108176 w 504825"/>
                <a:gd name="connsiteY16" fmla="*/ 297486 h 396648"/>
                <a:gd name="connsiteX17" fmla="*/ 108176 w 504825"/>
                <a:gd name="connsiteY17" fmla="*/ 315516 h 396648"/>
                <a:gd name="connsiteX18" fmla="*/ 105500 w 504825"/>
                <a:gd name="connsiteY18" fmla="*/ 321854 h 396648"/>
                <a:gd name="connsiteX19" fmla="*/ 99162 w 504825"/>
                <a:gd name="connsiteY19" fmla="*/ 324530 h 396648"/>
                <a:gd name="connsiteX20" fmla="*/ 81132 w 504825"/>
                <a:gd name="connsiteY20" fmla="*/ 324530 h 396648"/>
                <a:gd name="connsiteX21" fmla="*/ 74793 w 504825"/>
                <a:gd name="connsiteY21" fmla="*/ 321854 h 396648"/>
                <a:gd name="connsiteX22" fmla="*/ 72117 w 504825"/>
                <a:gd name="connsiteY22" fmla="*/ 315516 h 396648"/>
                <a:gd name="connsiteX23" fmla="*/ 72117 w 504825"/>
                <a:gd name="connsiteY23" fmla="*/ 297486 h 396648"/>
                <a:gd name="connsiteX24" fmla="*/ 74793 w 504825"/>
                <a:gd name="connsiteY24" fmla="*/ 291148 h 396648"/>
                <a:gd name="connsiteX25" fmla="*/ 81132 w 504825"/>
                <a:gd name="connsiteY25" fmla="*/ 288471 h 396648"/>
                <a:gd name="connsiteX26" fmla="*/ 153249 w 504825"/>
                <a:gd name="connsiteY26" fmla="*/ 216354 h 396648"/>
                <a:gd name="connsiteX27" fmla="*/ 423692 w 504825"/>
                <a:gd name="connsiteY27" fmla="*/ 216354 h 396648"/>
                <a:gd name="connsiteX28" fmla="*/ 430029 w 504825"/>
                <a:gd name="connsiteY28" fmla="*/ 219030 h 396648"/>
                <a:gd name="connsiteX29" fmla="*/ 432706 w 504825"/>
                <a:gd name="connsiteY29" fmla="*/ 225368 h 396648"/>
                <a:gd name="connsiteX30" fmla="*/ 432706 w 504825"/>
                <a:gd name="connsiteY30" fmla="*/ 243398 h 396648"/>
                <a:gd name="connsiteX31" fmla="*/ 430029 w 504825"/>
                <a:gd name="connsiteY31" fmla="*/ 249736 h 396648"/>
                <a:gd name="connsiteX32" fmla="*/ 423692 w 504825"/>
                <a:gd name="connsiteY32" fmla="*/ 252412 h 396648"/>
                <a:gd name="connsiteX33" fmla="*/ 153249 w 504825"/>
                <a:gd name="connsiteY33" fmla="*/ 252412 h 396648"/>
                <a:gd name="connsiteX34" fmla="*/ 146911 w 504825"/>
                <a:gd name="connsiteY34" fmla="*/ 249736 h 396648"/>
                <a:gd name="connsiteX35" fmla="*/ 144234 w 504825"/>
                <a:gd name="connsiteY35" fmla="*/ 243398 h 396648"/>
                <a:gd name="connsiteX36" fmla="*/ 144234 w 504825"/>
                <a:gd name="connsiteY36" fmla="*/ 225368 h 396648"/>
                <a:gd name="connsiteX37" fmla="*/ 146911 w 504825"/>
                <a:gd name="connsiteY37" fmla="*/ 219030 h 396648"/>
                <a:gd name="connsiteX38" fmla="*/ 153249 w 504825"/>
                <a:gd name="connsiteY38" fmla="*/ 216354 h 396648"/>
                <a:gd name="connsiteX39" fmla="*/ 81132 w 504825"/>
                <a:gd name="connsiteY39" fmla="*/ 216354 h 396648"/>
                <a:gd name="connsiteX40" fmla="*/ 99162 w 504825"/>
                <a:gd name="connsiteY40" fmla="*/ 216354 h 396648"/>
                <a:gd name="connsiteX41" fmla="*/ 105500 w 504825"/>
                <a:gd name="connsiteY41" fmla="*/ 219030 h 396648"/>
                <a:gd name="connsiteX42" fmla="*/ 108176 w 504825"/>
                <a:gd name="connsiteY42" fmla="*/ 225368 h 396648"/>
                <a:gd name="connsiteX43" fmla="*/ 108176 w 504825"/>
                <a:gd name="connsiteY43" fmla="*/ 243398 h 396648"/>
                <a:gd name="connsiteX44" fmla="*/ 105500 w 504825"/>
                <a:gd name="connsiteY44" fmla="*/ 249736 h 396648"/>
                <a:gd name="connsiteX45" fmla="*/ 99162 w 504825"/>
                <a:gd name="connsiteY45" fmla="*/ 252412 h 396648"/>
                <a:gd name="connsiteX46" fmla="*/ 81132 w 504825"/>
                <a:gd name="connsiteY46" fmla="*/ 252412 h 396648"/>
                <a:gd name="connsiteX47" fmla="*/ 74793 w 504825"/>
                <a:gd name="connsiteY47" fmla="*/ 249736 h 396648"/>
                <a:gd name="connsiteX48" fmla="*/ 72117 w 504825"/>
                <a:gd name="connsiteY48" fmla="*/ 243398 h 396648"/>
                <a:gd name="connsiteX49" fmla="*/ 72117 w 504825"/>
                <a:gd name="connsiteY49" fmla="*/ 225368 h 396648"/>
                <a:gd name="connsiteX50" fmla="*/ 74793 w 504825"/>
                <a:gd name="connsiteY50" fmla="*/ 219030 h 396648"/>
                <a:gd name="connsiteX51" fmla="*/ 81132 w 504825"/>
                <a:gd name="connsiteY51" fmla="*/ 216354 h 396648"/>
                <a:gd name="connsiteX52" fmla="*/ 153249 w 504825"/>
                <a:gd name="connsiteY52" fmla="*/ 144236 h 396648"/>
                <a:gd name="connsiteX53" fmla="*/ 423692 w 504825"/>
                <a:gd name="connsiteY53" fmla="*/ 144236 h 396648"/>
                <a:gd name="connsiteX54" fmla="*/ 430029 w 504825"/>
                <a:gd name="connsiteY54" fmla="*/ 146912 h 396648"/>
                <a:gd name="connsiteX55" fmla="*/ 432706 w 504825"/>
                <a:gd name="connsiteY55" fmla="*/ 153250 h 396648"/>
                <a:gd name="connsiteX56" fmla="*/ 432706 w 504825"/>
                <a:gd name="connsiteY56" fmla="*/ 171280 h 396648"/>
                <a:gd name="connsiteX57" fmla="*/ 430029 w 504825"/>
                <a:gd name="connsiteY57" fmla="*/ 177618 h 396648"/>
                <a:gd name="connsiteX58" fmla="*/ 423692 w 504825"/>
                <a:gd name="connsiteY58" fmla="*/ 180295 h 396648"/>
                <a:gd name="connsiteX59" fmla="*/ 153249 w 504825"/>
                <a:gd name="connsiteY59" fmla="*/ 180295 h 396648"/>
                <a:gd name="connsiteX60" fmla="*/ 146911 w 504825"/>
                <a:gd name="connsiteY60" fmla="*/ 177618 h 396648"/>
                <a:gd name="connsiteX61" fmla="*/ 144234 w 504825"/>
                <a:gd name="connsiteY61" fmla="*/ 171280 h 396648"/>
                <a:gd name="connsiteX62" fmla="*/ 144234 w 504825"/>
                <a:gd name="connsiteY62" fmla="*/ 153250 h 396648"/>
                <a:gd name="connsiteX63" fmla="*/ 146911 w 504825"/>
                <a:gd name="connsiteY63" fmla="*/ 146912 h 396648"/>
                <a:gd name="connsiteX64" fmla="*/ 153249 w 504825"/>
                <a:gd name="connsiteY64" fmla="*/ 144236 h 396648"/>
                <a:gd name="connsiteX65" fmla="*/ 81132 w 504825"/>
                <a:gd name="connsiteY65" fmla="*/ 144236 h 396648"/>
                <a:gd name="connsiteX66" fmla="*/ 99162 w 504825"/>
                <a:gd name="connsiteY66" fmla="*/ 144236 h 396648"/>
                <a:gd name="connsiteX67" fmla="*/ 105500 w 504825"/>
                <a:gd name="connsiteY67" fmla="*/ 146912 h 396648"/>
                <a:gd name="connsiteX68" fmla="*/ 108176 w 504825"/>
                <a:gd name="connsiteY68" fmla="*/ 153250 h 396648"/>
                <a:gd name="connsiteX69" fmla="*/ 108176 w 504825"/>
                <a:gd name="connsiteY69" fmla="*/ 171280 h 396648"/>
                <a:gd name="connsiteX70" fmla="*/ 105500 w 504825"/>
                <a:gd name="connsiteY70" fmla="*/ 177618 h 396648"/>
                <a:gd name="connsiteX71" fmla="*/ 99162 w 504825"/>
                <a:gd name="connsiteY71" fmla="*/ 180295 h 396648"/>
                <a:gd name="connsiteX72" fmla="*/ 81132 w 504825"/>
                <a:gd name="connsiteY72" fmla="*/ 180295 h 396648"/>
                <a:gd name="connsiteX73" fmla="*/ 74793 w 504825"/>
                <a:gd name="connsiteY73" fmla="*/ 177618 h 396648"/>
                <a:gd name="connsiteX74" fmla="*/ 72117 w 504825"/>
                <a:gd name="connsiteY74" fmla="*/ 171280 h 396648"/>
                <a:gd name="connsiteX75" fmla="*/ 72117 w 504825"/>
                <a:gd name="connsiteY75" fmla="*/ 153250 h 396648"/>
                <a:gd name="connsiteX76" fmla="*/ 74793 w 504825"/>
                <a:gd name="connsiteY76" fmla="*/ 146912 h 396648"/>
                <a:gd name="connsiteX77" fmla="*/ 81132 w 504825"/>
                <a:gd name="connsiteY77" fmla="*/ 144236 h 396648"/>
                <a:gd name="connsiteX78" fmla="*/ 45073 w 504825"/>
                <a:gd name="connsiteY78" fmla="*/ 108177 h 396648"/>
                <a:gd name="connsiteX79" fmla="*/ 38735 w 504825"/>
                <a:gd name="connsiteY79" fmla="*/ 110853 h 396648"/>
                <a:gd name="connsiteX80" fmla="*/ 36059 w 504825"/>
                <a:gd name="connsiteY80" fmla="*/ 117191 h 396648"/>
                <a:gd name="connsiteX81" fmla="*/ 36059 w 504825"/>
                <a:gd name="connsiteY81" fmla="*/ 351575 h 396648"/>
                <a:gd name="connsiteX82" fmla="*/ 38735 w 504825"/>
                <a:gd name="connsiteY82" fmla="*/ 357913 h 396648"/>
                <a:gd name="connsiteX83" fmla="*/ 45073 w 504825"/>
                <a:gd name="connsiteY83" fmla="*/ 360589 h 396648"/>
                <a:gd name="connsiteX84" fmla="*/ 459751 w 504825"/>
                <a:gd name="connsiteY84" fmla="*/ 360589 h 396648"/>
                <a:gd name="connsiteX85" fmla="*/ 466090 w 504825"/>
                <a:gd name="connsiteY85" fmla="*/ 357913 h 396648"/>
                <a:gd name="connsiteX86" fmla="*/ 468765 w 504825"/>
                <a:gd name="connsiteY86" fmla="*/ 351575 h 396648"/>
                <a:gd name="connsiteX87" fmla="*/ 468765 w 504825"/>
                <a:gd name="connsiteY87" fmla="*/ 117191 h 396648"/>
                <a:gd name="connsiteX88" fmla="*/ 466090 w 504825"/>
                <a:gd name="connsiteY88" fmla="*/ 110853 h 396648"/>
                <a:gd name="connsiteX89" fmla="*/ 459751 w 504825"/>
                <a:gd name="connsiteY89" fmla="*/ 108177 h 396648"/>
                <a:gd name="connsiteX90" fmla="*/ 45073 w 504825"/>
                <a:gd name="connsiteY90" fmla="*/ 0 h 396648"/>
                <a:gd name="connsiteX91" fmla="*/ 459751 w 504825"/>
                <a:gd name="connsiteY91" fmla="*/ 0 h 396648"/>
                <a:gd name="connsiteX92" fmla="*/ 491584 w 504825"/>
                <a:gd name="connsiteY92" fmla="*/ 13240 h 396648"/>
                <a:gd name="connsiteX93" fmla="*/ 504825 w 504825"/>
                <a:gd name="connsiteY93" fmla="*/ 45074 h 396648"/>
                <a:gd name="connsiteX94" fmla="*/ 504825 w 504825"/>
                <a:gd name="connsiteY94" fmla="*/ 351575 h 396648"/>
                <a:gd name="connsiteX95" fmla="*/ 491584 w 504825"/>
                <a:gd name="connsiteY95" fmla="*/ 383408 h 396648"/>
                <a:gd name="connsiteX96" fmla="*/ 459751 w 504825"/>
                <a:gd name="connsiteY96" fmla="*/ 396648 h 396648"/>
                <a:gd name="connsiteX97" fmla="*/ 45073 w 504825"/>
                <a:gd name="connsiteY97" fmla="*/ 396648 h 396648"/>
                <a:gd name="connsiteX98" fmla="*/ 13240 w 504825"/>
                <a:gd name="connsiteY98" fmla="*/ 383408 h 396648"/>
                <a:gd name="connsiteX99" fmla="*/ 0 w 504825"/>
                <a:gd name="connsiteY99" fmla="*/ 351575 h 396648"/>
                <a:gd name="connsiteX100" fmla="*/ 0 w 504825"/>
                <a:gd name="connsiteY100" fmla="*/ 45074 h 396648"/>
                <a:gd name="connsiteX101" fmla="*/ 13240 w 504825"/>
                <a:gd name="connsiteY101" fmla="*/ 13240 h 396648"/>
                <a:gd name="connsiteX102" fmla="*/ 45073 w 504825"/>
                <a:gd name="connsiteY102" fmla="*/ 0 h 396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04825" h="396648">
                  <a:moveTo>
                    <a:pt x="153249" y="288471"/>
                  </a:moveTo>
                  <a:lnTo>
                    <a:pt x="423692" y="288471"/>
                  </a:lnTo>
                  <a:cubicBezTo>
                    <a:pt x="426133" y="288471"/>
                    <a:pt x="428246" y="289363"/>
                    <a:pt x="430029" y="291148"/>
                  </a:cubicBezTo>
                  <a:cubicBezTo>
                    <a:pt x="431814" y="292932"/>
                    <a:pt x="432706" y="295045"/>
                    <a:pt x="432706" y="297486"/>
                  </a:cubicBezTo>
                  <a:lnTo>
                    <a:pt x="432706" y="315516"/>
                  </a:lnTo>
                  <a:cubicBezTo>
                    <a:pt x="432706" y="317957"/>
                    <a:pt x="431814" y="320070"/>
                    <a:pt x="430029" y="321854"/>
                  </a:cubicBezTo>
                  <a:cubicBezTo>
                    <a:pt x="428246" y="323638"/>
                    <a:pt x="426133" y="324530"/>
                    <a:pt x="423692" y="324530"/>
                  </a:cubicBezTo>
                  <a:lnTo>
                    <a:pt x="153249" y="324530"/>
                  </a:lnTo>
                  <a:cubicBezTo>
                    <a:pt x="150808" y="324530"/>
                    <a:pt x="148696" y="323638"/>
                    <a:pt x="146911" y="321854"/>
                  </a:cubicBezTo>
                  <a:cubicBezTo>
                    <a:pt x="145127" y="320070"/>
                    <a:pt x="144234" y="317957"/>
                    <a:pt x="144234" y="315516"/>
                  </a:cubicBezTo>
                  <a:lnTo>
                    <a:pt x="144234" y="297486"/>
                  </a:lnTo>
                  <a:cubicBezTo>
                    <a:pt x="144234" y="295045"/>
                    <a:pt x="145127" y="292932"/>
                    <a:pt x="146911" y="291148"/>
                  </a:cubicBezTo>
                  <a:cubicBezTo>
                    <a:pt x="148696" y="289363"/>
                    <a:pt x="150808" y="288471"/>
                    <a:pt x="153249" y="288471"/>
                  </a:cubicBezTo>
                  <a:close/>
                  <a:moveTo>
                    <a:pt x="81132" y="288471"/>
                  </a:moveTo>
                  <a:lnTo>
                    <a:pt x="99162" y="288471"/>
                  </a:lnTo>
                  <a:cubicBezTo>
                    <a:pt x="101603" y="288471"/>
                    <a:pt x="103716" y="289363"/>
                    <a:pt x="105500" y="291148"/>
                  </a:cubicBezTo>
                  <a:cubicBezTo>
                    <a:pt x="107285" y="292932"/>
                    <a:pt x="108176" y="295045"/>
                    <a:pt x="108176" y="297486"/>
                  </a:cubicBezTo>
                  <a:lnTo>
                    <a:pt x="108176" y="315516"/>
                  </a:lnTo>
                  <a:cubicBezTo>
                    <a:pt x="108176" y="317957"/>
                    <a:pt x="107285" y="320070"/>
                    <a:pt x="105500" y="321854"/>
                  </a:cubicBezTo>
                  <a:cubicBezTo>
                    <a:pt x="103716" y="323638"/>
                    <a:pt x="101603" y="324530"/>
                    <a:pt x="99162" y="324530"/>
                  </a:cubicBezTo>
                  <a:lnTo>
                    <a:pt x="81132" y="324530"/>
                  </a:lnTo>
                  <a:cubicBezTo>
                    <a:pt x="78691" y="324530"/>
                    <a:pt x="76579" y="323638"/>
                    <a:pt x="74793" y="321854"/>
                  </a:cubicBezTo>
                  <a:cubicBezTo>
                    <a:pt x="73010" y="320070"/>
                    <a:pt x="72117" y="317957"/>
                    <a:pt x="72117" y="315516"/>
                  </a:cubicBezTo>
                  <a:lnTo>
                    <a:pt x="72117" y="297486"/>
                  </a:lnTo>
                  <a:cubicBezTo>
                    <a:pt x="72117" y="295045"/>
                    <a:pt x="73010" y="292932"/>
                    <a:pt x="74793" y="291148"/>
                  </a:cubicBezTo>
                  <a:cubicBezTo>
                    <a:pt x="76579" y="289363"/>
                    <a:pt x="78691" y="288471"/>
                    <a:pt x="81132" y="288471"/>
                  </a:cubicBezTo>
                  <a:close/>
                  <a:moveTo>
                    <a:pt x="153249" y="216354"/>
                  </a:moveTo>
                  <a:lnTo>
                    <a:pt x="423692" y="216354"/>
                  </a:lnTo>
                  <a:cubicBezTo>
                    <a:pt x="426133" y="216354"/>
                    <a:pt x="428246" y="217246"/>
                    <a:pt x="430029" y="219030"/>
                  </a:cubicBezTo>
                  <a:cubicBezTo>
                    <a:pt x="431814" y="220814"/>
                    <a:pt x="432706" y="222927"/>
                    <a:pt x="432706" y="225368"/>
                  </a:cubicBezTo>
                  <a:lnTo>
                    <a:pt x="432706" y="243398"/>
                  </a:lnTo>
                  <a:cubicBezTo>
                    <a:pt x="432706" y="245839"/>
                    <a:pt x="431814" y="247952"/>
                    <a:pt x="430029" y="249736"/>
                  </a:cubicBezTo>
                  <a:cubicBezTo>
                    <a:pt x="428246" y="251520"/>
                    <a:pt x="426133" y="252412"/>
                    <a:pt x="423692" y="252412"/>
                  </a:cubicBezTo>
                  <a:lnTo>
                    <a:pt x="153249" y="252412"/>
                  </a:lnTo>
                  <a:cubicBezTo>
                    <a:pt x="150808" y="252412"/>
                    <a:pt x="148696" y="251520"/>
                    <a:pt x="146911" y="249736"/>
                  </a:cubicBezTo>
                  <a:cubicBezTo>
                    <a:pt x="145127" y="247952"/>
                    <a:pt x="144234" y="245839"/>
                    <a:pt x="144234" y="243398"/>
                  </a:cubicBezTo>
                  <a:lnTo>
                    <a:pt x="144234" y="225368"/>
                  </a:lnTo>
                  <a:cubicBezTo>
                    <a:pt x="144234" y="222927"/>
                    <a:pt x="145127" y="220814"/>
                    <a:pt x="146911" y="219030"/>
                  </a:cubicBezTo>
                  <a:cubicBezTo>
                    <a:pt x="148696" y="217246"/>
                    <a:pt x="150808" y="216354"/>
                    <a:pt x="153249" y="216354"/>
                  </a:cubicBezTo>
                  <a:close/>
                  <a:moveTo>
                    <a:pt x="81132" y="216354"/>
                  </a:moveTo>
                  <a:lnTo>
                    <a:pt x="99162" y="216354"/>
                  </a:lnTo>
                  <a:cubicBezTo>
                    <a:pt x="101603" y="216354"/>
                    <a:pt x="103716" y="217246"/>
                    <a:pt x="105500" y="219030"/>
                  </a:cubicBezTo>
                  <a:cubicBezTo>
                    <a:pt x="107285" y="220814"/>
                    <a:pt x="108176" y="222927"/>
                    <a:pt x="108176" y="225368"/>
                  </a:cubicBezTo>
                  <a:lnTo>
                    <a:pt x="108176" y="243398"/>
                  </a:lnTo>
                  <a:cubicBezTo>
                    <a:pt x="108176" y="245839"/>
                    <a:pt x="107285" y="247952"/>
                    <a:pt x="105500" y="249736"/>
                  </a:cubicBezTo>
                  <a:cubicBezTo>
                    <a:pt x="103716" y="251520"/>
                    <a:pt x="101603" y="252412"/>
                    <a:pt x="99162" y="252412"/>
                  </a:cubicBezTo>
                  <a:lnTo>
                    <a:pt x="81132" y="252412"/>
                  </a:lnTo>
                  <a:cubicBezTo>
                    <a:pt x="78691" y="252412"/>
                    <a:pt x="76579" y="251520"/>
                    <a:pt x="74793" y="249736"/>
                  </a:cubicBezTo>
                  <a:cubicBezTo>
                    <a:pt x="73010" y="247952"/>
                    <a:pt x="72117" y="245839"/>
                    <a:pt x="72117" y="243398"/>
                  </a:cubicBezTo>
                  <a:lnTo>
                    <a:pt x="72117" y="225368"/>
                  </a:lnTo>
                  <a:cubicBezTo>
                    <a:pt x="72117" y="222927"/>
                    <a:pt x="73010" y="220814"/>
                    <a:pt x="74793" y="219030"/>
                  </a:cubicBezTo>
                  <a:cubicBezTo>
                    <a:pt x="76579" y="217246"/>
                    <a:pt x="78691" y="216354"/>
                    <a:pt x="81132" y="216354"/>
                  </a:cubicBezTo>
                  <a:close/>
                  <a:moveTo>
                    <a:pt x="153249" y="144236"/>
                  </a:moveTo>
                  <a:lnTo>
                    <a:pt x="423692" y="144236"/>
                  </a:lnTo>
                  <a:cubicBezTo>
                    <a:pt x="426133" y="144236"/>
                    <a:pt x="428246" y="145128"/>
                    <a:pt x="430029" y="146912"/>
                  </a:cubicBezTo>
                  <a:cubicBezTo>
                    <a:pt x="431814" y="148696"/>
                    <a:pt x="432706" y="150809"/>
                    <a:pt x="432706" y="153250"/>
                  </a:cubicBezTo>
                  <a:lnTo>
                    <a:pt x="432706" y="171280"/>
                  </a:lnTo>
                  <a:cubicBezTo>
                    <a:pt x="432706" y="173721"/>
                    <a:pt x="431814" y="175834"/>
                    <a:pt x="430029" y="177618"/>
                  </a:cubicBezTo>
                  <a:cubicBezTo>
                    <a:pt x="428246" y="179403"/>
                    <a:pt x="426133" y="180295"/>
                    <a:pt x="423692" y="180295"/>
                  </a:cubicBezTo>
                  <a:lnTo>
                    <a:pt x="153249" y="180295"/>
                  </a:lnTo>
                  <a:cubicBezTo>
                    <a:pt x="150808" y="180295"/>
                    <a:pt x="148696" y="179403"/>
                    <a:pt x="146911" y="177618"/>
                  </a:cubicBezTo>
                  <a:cubicBezTo>
                    <a:pt x="145127" y="175834"/>
                    <a:pt x="144234" y="173721"/>
                    <a:pt x="144234" y="171280"/>
                  </a:cubicBezTo>
                  <a:lnTo>
                    <a:pt x="144234" y="153250"/>
                  </a:lnTo>
                  <a:cubicBezTo>
                    <a:pt x="144234" y="150809"/>
                    <a:pt x="145127" y="148696"/>
                    <a:pt x="146911" y="146912"/>
                  </a:cubicBezTo>
                  <a:cubicBezTo>
                    <a:pt x="148696" y="145128"/>
                    <a:pt x="150808" y="144236"/>
                    <a:pt x="153249" y="144236"/>
                  </a:cubicBezTo>
                  <a:close/>
                  <a:moveTo>
                    <a:pt x="81132" y="144236"/>
                  </a:moveTo>
                  <a:lnTo>
                    <a:pt x="99162" y="144236"/>
                  </a:lnTo>
                  <a:cubicBezTo>
                    <a:pt x="101603" y="144236"/>
                    <a:pt x="103716" y="145128"/>
                    <a:pt x="105500" y="146912"/>
                  </a:cubicBezTo>
                  <a:cubicBezTo>
                    <a:pt x="107285" y="148696"/>
                    <a:pt x="108176" y="150809"/>
                    <a:pt x="108176" y="153250"/>
                  </a:cubicBezTo>
                  <a:lnTo>
                    <a:pt x="108176" y="171280"/>
                  </a:lnTo>
                  <a:cubicBezTo>
                    <a:pt x="108176" y="173721"/>
                    <a:pt x="107285" y="175834"/>
                    <a:pt x="105500" y="177618"/>
                  </a:cubicBezTo>
                  <a:cubicBezTo>
                    <a:pt x="103716" y="179403"/>
                    <a:pt x="101603" y="180295"/>
                    <a:pt x="99162" y="180295"/>
                  </a:cubicBezTo>
                  <a:lnTo>
                    <a:pt x="81132" y="180295"/>
                  </a:lnTo>
                  <a:cubicBezTo>
                    <a:pt x="78691" y="180295"/>
                    <a:pt x="76579" y="179403"/>
                    <a:pt x="74793" y="177618"/>
                  </a:cubicBezTo>
                  <a:cubicBezTo>
                    <a:pt x="73010" y="175834"/>
                    <a:pt x="72117" y="173721"/>
                    <a:pt x="72117" y="171280"/>
                  </a:cubicBezTo>
                  <a:lnTo>
                    <a:pt x="72117" y="153250"/>
                  </a:lnTo>
                  <a:cubicBezTo>
                    <a:pt x="72117" y="150809"/>
                    <a:pt x="73010" y="148696"/>
                    <a:pt x="74793" y="146912"/>
                  </a:cubicBezTo>
                  <a:cubicBezTo>
                    <a:pt x="76579" y="145128"/>
                    <a:pt x="78691" y="144236"/>
                    <a:pt x="81132" y="144236"/>
                  </a:cubicBezTo>
                  <a:close/>
                  <a:moveTo>
                    <a:pt x="45073" y="108177"/>
                  </a:moveTo>
                  <a:cubicBezTo>
                    <a:pt x="42633" y="108177"/>
                    <a:pt x="40519" y="109069"/>
                    <a:pt x="38735" y="110853"/>
                  </a:cubicBezTo>
                  <a:cubicBezTo>
                    <a:pt x="36951" y="112637"/>
                    <a:pt x="36059" y="114750"/>
                    <a:pt x="36059" y="117191"/>
                  </a:cubicBezTo>
                  <a:lnTo>
                    <a:pt x="36059" y="351575"/>
                  </a:lnTo>
                  <a:cubicBezTo>
                    <a:pt x="36059" y="354016"/>
                    <a:pt x="36951" y="356129"/>
                    <a:pt x="38735" y="357913"/>
                  </a:cubicBezTo>
                  <a:cubicBezTo>
                    <a:pt x="40519" y="359697"/>
                    <a:pt x="42633" y="360589"/>
                    <a:pt x="45073" y="360589"/>
                  </a:cubicBezTo>
                  <a:lnTo>
                    <a:pt x="459751" y="360589"/>
                  </a:lnTo>
                  <a:cubicBezTo>
                    <a:pt x="462192" y="360589"/>
                    <a:pt x="464305" y="359697"/>
                    <a:pt x="466090" y="357913"/>
                  </a:cubicBezTo>
                  <a:cubicBezTo>
                    <a:pt x="467875" y="356129"/>
                    <a:pt x="468765" y="354016"/>
                    <a:pt x="468765" y="351575"/>
                  </a:cubicBezTo>
                  <a:lnTo>
                    <a:pt x="468765" y="117191"/>
                  </a:lnTo>
                  <a:cubicBezTo>
                    <a:pt x="468765" y="114750"/>
                    <a:pt x="467875" y="112637"/>
                    <a:pt x="466090" y="110853"/>
                  </a:cubicBezTo>
                  <a:cubicBezTo>
                    <a:pt x="464305" y="109069"/>
                    <a:pt x="462192" y="108177"/>
                    <a:pt x="459751" y="108177"/>
                  </a:cubicBezTo>
                  <a:close/>
                  <a:moveTo>
                    <a:pt x="45073" y="0"/>
                  </a:moveTo>
                  <a:lnTo>
                    <a:pt x="459751" y="0"/>
                  </a:lnTo>
                  <a:cubicBezTo>
                    <a:pt x="472147" y="0"/>
                    <a:pt x="482758" y="4413"/>
                    <a:pt x="491584" y="13240"/>
                  </a:cubicBezTo>
                  <a:cubicBezTo>
                    <a:pt x="500412" y="22067"/>
                    <a:pt x="504825" y="32678"/>
                    <a:pt x="504825" y="45074"/>
                  </a:cubicBezTo>
                  <a:lnTo>
                    <a:pt x="504825" y="351575"/>
                  </a:lnTo>
                  <a:cubicBezTo>
                    <a:pt x="504825" y="363970"/>
                    <a:pt x="500412" y="374581"/>
                    <a:pt x="491584" y="383408"/>
                  </a:cubicBezTo>
                  <a:cubicBezTo>
                    <a:pt x="482758" y="392235"/>
                    <a:pt x="472147" y="396648"/>
                    <a:pt x="459751" y="396648"/>
                  </a:cubicBezTo>
                  <a:lnTo>
                    <a:pt x="45073" y="396648"/>
                  </a:lnTo>
                  <a:cubicBezTo>
                    <a:pt x="32678" y="396648"/>
                    <a:pt x="22068" y="392235"/>
                    <a:pt x="13240" y="383408"/>
                  </a:cubicBezTo>
                  <a:cubicBezTo>
                    <a:pt x="4413" y="374581"/>
                    <a:pt x="0" y="363970"/>
                    <a:pt x="0" y="351575"/>
                  </a:cubicBezTo>
                  <a:lnTo>
                    <a:pt x="0" y="45074"/>
                  </a:lnTo>
                  <a:cubicBezTo>
                    <a:pt x="0" y="32678"/>
                    <a:pt x="4413" y="22067"/>
                    <a:pt x="13240" y="13240"/>
                  </a:cubicBezTo>
                  <a:cubicBezTo>
                    <a:pt x="22068" y="4413"/>
                    <a:pt x="32678" y="0"/>
                    <a:pt x="45073" y="0"/>
                  </a:cubicBezTo>
                  <a:close/>
                </a:path>
              </a:pathLst>
            </a:custGeom>
            <a:solidFill>
              <a:srgbClr val="0E457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8" name="群組 37"/>
          <p:cNvGrpSpPr/>
          <p:nvPr/>
        </p:nvGrpSpPr>
        <p:grpSpPr>
          <a:xfrm>
            <a:off x="1019361" y="5373216"/>
            <a:ext cx="684151" cy="603132"/>
            <a:chOff x="866568" y="4454228"/>
            <a:chExt cx="684151" cy="603132"/>
          </a:xfrm>
        </p:grpSpPr>
        <p:sp>
          <p:nvSpPr>
            <p:cNvPr id="12" name="圆角矩形 47"/>
            <p:cNvSpPr/>
            <p:nvPr/>
          </p:nvSpPr>
          <p:spPr>
            <a:xfrm>
              <a:off x="866568" y="4454228"/>
              <a:ext cx="684151" cy="603132"/>
            </a:xfrm>
            <a:prstGeom prst="roundRect">
              <a:avLst/>
            </a:prstGeom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A5A5A5">
                    <a:lumMod val="45000"/>
                    <a:lumOff val="55000"/>
                  </a:srgbClr>
                </a:gs>
                <a:gs pos="83000">
                  <a:srgbClr val="A5A5A5">
                    <a:lumMod val="45000"/>
                    <a:lumOff val="55000"/>
                  </a:srgbClr>
                </a:gs>
                <a:gs pos="100000">
                  <a:srgbClr val="A5A5A5">
                    <a:lumMod val="30000"/>
                    <a:lumOff val="70000"/>
                  </a:srgbClr>
                </a:gs>
              </a:gsLst>
              <a:lin ang="18900000" scaled="1"/>
              <a:tileRect/>
            </a:gradFill>
            <a:ln w="12700" cap="flat" cmpd="sng" algn="ctr">
              <a:gradFill flip="none" rotWithShape="1">
                <a:gsLst>
                  <a:gs pos="0">
                    <a:srgbClr val="A5A5A5">
                      <a:lumMod val="5000"/>
                      <a:lumOff val="95000"/>
                    </a:srgbClr>
                  </a:gs>
                  <a:gs pos="74000">
                    <a:srgbClr val="A5A5A5">
                      <a:lumMod val="45000"/>
                      <a:lumOff val="55000"/>
                    </a:srgbClr>
                  </a:gs>
                  <a:gs pos="83000">
                    <a:srgbClr val="A5A5A5">
                      <a:lumMod val="45000"/>
                      <a:lumOff val="55000"/>
                    </a:srgbClr>
                  </a:gs>
                  <a:gs pos="100000">
                    <a:srgbClr val="A5A5A5">
                      <a:lumMod val="30000"/>
                      <a:lumOff val="70000"/>
                    </a:srgbClr>
                  </a:gs>
                </a:gsLst>
                <a:lin ang="8100000" scaled="1"/>
                <a:tileRect/>
              </a:gradFill>
              <a:prstDash val="solid"/>
              <a:miter lim="800000"/>
            </a:ln>
            <a:effectLst>
              <a:outerShdw blurRad="127000" dist="50800" dir="8100000" algn="tr" rotWithShape="0">
                <a:sysClr val="window" lastClr="FFFFFF">
                  <a:lumMod val="50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914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33" name="Freeform 404"/>
            <p:cNvSpPr/>
            <p:nvPr/>
          </p:nvSpPr>
          <p:spPr>
            <a:xfrm>
              <a:off x="987332" y="4557571"/>
              <a:ext cx="502571" cy="396445"/>
            </a:xfrm>
            <a:custGeom>
              <a:avLst/>
              <a:gdLst>
                <a:gd name="connsiteX0" fmla="*/ 240018 w 502570"/>
                <a:gd name="connsiteY0" fmla="*/ 221988 h 396648"/>
                <a:gd name="connsiteX1" fmla="*/ 207339 w 502570"/>
                <a:gd name="connsiteY1" fmla="*/ 254666 h 396648"/>
                <a:gd name="connsiteX2" fmla="*/ 207339 w 502570"/>
                <a:gd name="connsiteY2" fmla="*/ 270442 h 396648"/>
                <a:gd name="connsiteX3" fmla="*/ 234383 w 502570"/>
                <a:gd name="connsiteY3" fmla="*/ 270442 h 396648"/>
                <a:gd name="connsiteX4" fmla="*/ 234383 w 502570"/>
                <a:gd name="connsiteY4" fmla="*/ 297486 h 396648"/>
                <a:gd name="connsiteX5" fmla="*/ 250159 w 502570"/>
                <a:gd name="connsiteY5" fmla="*/ 297486 h 396648"/>
                <a:gd name="connsiteX6" fmla="*/ 282837 w 502570"/>
                <a:gd name="connsiteY6" fmla="*/ 264808 h 396648"/>
                <a:gd name="connsiteX7" fmla="*/ 369533 w 502570"/>
                <a:gd name="connsiteY7" fmla="*/ 92471 h 396648"/>
                <a:gd name="connsiteX8" fmla="*/ 364815 w 502570"/>
                <a:gd name="connsiteY8" fmla="*/ 94936 h 396648"/>
                <a:gd name="connsiteX9" fmla="*/ 266216 w 502570"/>
                <a:gd name="connsiteY9" fmla="*/ 193535 h 396648"/>
                <a:gd name="connsiteX10" fmla="*/ 265935 w 502570"/>
                <a:gd name="connsiteY10" fmla="*/ 202831 h 396648"/>
                <a:gd name="connsiteX11" fmla="*/ 275231 w 502570"/>
                <a:gd name="connsiteY11" fmla="*/ 202550 h 396648"/>
                <a:gd name="connsiteX12" fmla="*/ 373829 w 502570"/>
                <a:gd name="connsiteY12" fmla="*/ 103951 h 396648"/>
                <a:gd name="connsiteX13" fmla="*/ 374112 w 502570"/>
                <a:gd name="connsiteY13" fmla="*/ 94655 h 396648"/>
                <a:gd name="connsiteX14" fmla="*/ 369533 w 502570"/>
                <a:gd name="connsiteY14" fmla="*/ 92471 h 396648"/>
                <a:gd name="connsiteX15" fmla="*/ 369604 w 502570"/>
                <a:gd name="connsiteY15" fmla="*/ 54088 h 396648"/>
                <a:gd name="connsiteX16" fmla="*/ 450736 w 502570"/>
                <a:gd name="connsiteY16" fmla="*/ 135221 h 396648"/>
                <a:gd name="connsiteX17" fmla="*/ 261427 w 502570"/>
                <a:gd name="connsiteY17" fmla="*/ 324530 h 396648"/>
                <a:gd name="connsiteX18" fmla="*/ 180295 w 502570"/>
                <a:gd name="connsiteY18" fmla="*/ 324530 h 396648"/>
                <a:gd name="connsiteX19" fmla="*/ 180295 w 502570"/>
                <a:gd name="connsiteY19" fmla="*/ 243398 h 396648"/>
                <a:gd name="connsiteX20" fmla="*/ 432706 w 502570"/>
                <a:gd name="connsiteY20" fmla="*/ 2254 h 396648"/>
                <a:gd name="connsiteX21" fmla="*/ 451863 w 502570"/>
                <a:gd name="connsiteY21" fmla="*/ 10142 h 396648"/>
                <a:gd name="connsiteX22" fmla="*/ 494683 w 502570"/>
                <a:gd name="connsiteY22" fmla="*/ 52961 h 396648"/>
                <a:gd name="connsiteX23" fmla="*/ 502570 w 502570"/>
                <a:gd name="connsiteY23" fmla="*/ 72118 h 396648"/>
                <a:gd name="connsiteX24" fmla="*/ 494683 w 502570"/>
                <a:gd name="connsiteY24" fmla="*/ 91274 h 396648"/>
                <a:gd name="connsiteX25" fmla="*/ 468766 w 502570"/>
                <a:gd name="connsiteY25" fmla="*/ 117191 h 396648"/>
                <a:gd name="connsiteX26" fmla="*/ 387632 w 502570"/>
                <a:gd name="connsiteY26" fmla="*/ 36059 h 396648"/>
                <a:gd name="connsiteX27" fmla="*/ 413550 w 502570"/>
                <a:gd name="connsiteY27" fmla="*/ 10142 h 396648"/>
                <a:gd name="connsiteX28" fmla="*/ 432706 w 502570"/>
                <a:gd name="connsiteY28" fmla="*/ 2254 h 396648"/>
                <a:gd name="connsiteX29" fmla="*/ 81133 w 502570"/>
                <a:gd name="connsiteY29" fmla="*/ 0 h 396648"/>
                <a:gd name="connsiteX30" fmla="*/ 315515 w 502570"/>
                <a:gd name="connsiteY30" fmla="*/ 0 h 396648"/>
                <a:gd name="connsiteX31" fmla="*/ 348476 w 502570"/>
                <a:gd name="connsiteY31" fmla="*/ 7043 h 396648"/>
                <a:gd name="connsiteX32" fmla="*/ 353547 w 502570"/>
                <a:gd name="connsiteY32" fmla="*/ 13522 h 396648"/>
                <a:gd name="connsiteX33" fmla="*/ 351011 w 502570"/>
                <a:gd name="connsiteY33" fmla="*/ 21692 h 396648"/>
                <a:gd name="connsiteX34" fmla="*/ 337207 w 502570"/>
                <a:gd name="connsiteY34" fmla="*/ 35496 h 396648"/>
                <a:gd name="connsiteX35" fmla="*/ 328193 w 502570"/>
                <a:gd name="connsiteY35" fmla="*/ 37749 h 396648"/>
                <a:gd name="connsiteX36" fmla="*/ 315515 w 502570"/>
                <a:gd name="connsiteY36" fmla="*/ 36059 h 396648"/>
                <a:gd name="connsiteX37" fmla="*/ 81133 w 502570"/>
                <a:gd name="connsiteY37" fmla="*/ 36059 h 396648"/>
                <a:gd name="connsiteX38" fmla="*/ 49299 w 502570"/>
                <a:gd name="connsiteY38" fmla="*/ 49299 h 396648"/>
                <a:gd name="connsiteX39" fmla="*/ 36059 w 502570"/>
                <a:gd name="connsiteY39" fmla="*/ 81133 h 396648"/>
                <a:gd name="connsiteX40" fmla="*/ 36059 w 502570"/>
                <a:gd name="connsiteY40" fmla="*/ 315515 h 396648"/>
                <a:gd name="connsiteX41" fmla="*/ 49299 w 502570"/>
                <a:gd name="connsiteY41" fmla="*/ 347349 h 396648"/>
                <a:gd name="connsiteX42" fmla="*/ 81133 w 502570"/>
                <a:gd name="connsiteY42" fmla="*/ 360589 h 396648"/>
                <a:gd name="connsiteX43" fmla="*/ 315515 w 502570"/>
                <a:gd name="connsiteY43" fmla="*/ 360589 h 396648"/>
                <a:gd name="connsiteX44" fmla="*/ 347349 w 502570"/>
                <a:gd name="connsiteY44" fmla="*/ 347349 h 396648"/>
                <a:gd name="connsiteX45" fmla="*/ 360589 w 502570"/>
                <a:gd name="connsiteY45" fmla="*/ 315515 h 396648"/>
                <a:gd name="connsiteX46" fmla="*/ 360589 w 502570"/>
                <a:gd name="connsiteY46" fmla="*/ 280020 h 396648"/>
                <a:gd name="connsiteX47" fmla="*/ 363125 w 502570"/>
                <a:gd name="connsiteY47" fmla="*/ 273822 h 396648"/>
                <a:gd name="connsiteX48" fmla="*/ 381154 w 502570"/>
                <a:gd name="connsiteY48" fmla="*/ 255793 h 396648"/>
                <a:gd name="connsiteX49" fmla="*/ 391014 w 502570"/>
                <a:gd name="connsiteY49" fmla="*/ 253821 h 396648"/>
                <a:gd name="connsiteX50" fmla="*/ 396649 w 502570"/>
                <a:gd name="connsiteY50" fmla="*/ 261991 h 396648"/>
                <a:gd name="connsiteX51" fmla="*/ 396649 w 502570"/>
                <a:gd name="connsiteY51" fmla="*/ 315515 h 396648"/>
                <a:gd name="connsiteX52" fmla="*/ 372843 w 502570"/>
                <a:gd name="connsiteY52" fmla="*/ 372844 h 396648"/>
                <a:gd name="connsiteX53" fmla="*/ 315515 w 502570"/>
                <a:gd name="connsiteY53" fmla="*/ 396648 h 396648"/>
                <a:gd name="connsiteX54" fmla="*/ 81133 w 502570"/>
                <a:gd name="connsiteY54" fmla="*/ 396648 h 396648"/>
                <a:gd name="connsiteX55" fmla="*/ 23804 w 502570"/>
                <a:gd name="connsiteY55" fmla="*/ 372844 h 396648"/>
                <a:gd name="connsiteX56" fmla="*/ 0 w 502570"/>
                <a:gd name="connsiteY56" fmla="*/ 315515 h 396648"/>
                <a:gd name="connsiteX57" fmla="*/ 0 w 502570"/>
                <a:gd name="connsiteY57" fmla="*/ 81133 h 396648"/>
                <a:gd name="connsiteX58" fmla="*/ 23804 w 502570"/>
                <a:gd name="connsiteY58" fmla="*/ 23805 h 396648"/>
                <a:gd name="connsiteX59" fmla="*/ 81133 w 502570"/>
                <a:gd name="connsiteY59" fmla="*/ 0 h 396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502570" h="396648">
                  <a:moveTo>
                    <a:pt x="240018" y="221988"/>
                  </a:moveTo>
                  <a:lnTo>
                    <a:pt x="207339" y="254666"/>
                  </a:lnTo>
                  <a:lnTo>
                    <a:pt x="207339" y="270442"/>
                  </a:lnTo>
                  <a:lnTo>
                    <a:pt x="234383" y="270442"/>
                  </a:lnTo>
                  <a:lnTo>
                    <a:pt x="234383" y="297486"/>
                  </a:lnTo>
                  <a:lnTo>
                    <a:pt x="250159" y="297486"/>
                  </a:lnTo>
                  <a:lnTo>
                    <a:pt x="282837" y="264808"/>
                  </a:lnTo>
                  <a:close/>
                  <a:moveTo>
                    <a:pt x="369533" y="92471"/>
                  </a:moveTo>
                  <a:cubicBezTo>
                    <a:pt x="367984" y="92518"/>
                    <a:pt x="366411" y="93340"/>
                    <a:pt x="364815" y="94936"/>
                  </a:cubicBezTo>
                  <a:lnTo>
                    <a:pt x="266216" y="193535"/>
                  </a:lnTo>
                  <a:cubicBezTo>
                    <a:pt x="263023" y="196728"/>
                    <a:pt x="262929" y="199826"/>
                    <a:pt x="265935" y="202831"/>
                  </a:cubicBezTo>
                  <a:cubicBezTo>
                    <a:pt x="268939" y="205836"/>
                    <a:pt x="272038" y="205742"/>
                    <a:pt x="275231" y="202550"/>
                  </a:cubicBezTo>
                  <a:lnTo>
                    <a:pt x="373829" y="103951"/>
                  </a:lnTo>
                  <a:cubicBezTo>
                    <a:pt x="377022" y="100758"/>
                    <a:pt x="377115" y="97659"/>
                    <a:pt x="374112" y="94655"/>
                  </a:cubicBezTo>
                  <a:cubicBezTo>
                    <a:pt x="372610" y="93152"/>
                    <a:pt x="371083" y="92424"/>
                    <a:pt x="369533" y="92471"/>
                  </a:cubicBezTo>
                  <a:close/>
                  <a:moveTo>
                    <a:pt x="369604" y="54088"/>
                  </a:moveTo>
                  <a:lnTo>
                    <a:pt x="450736" y="135221"/>
                  </a:lnTo>
                  <a:lnTo>
                    <a:pt x="261427" y="324530"/>
                  </a:lnTo>
                  <a:lnTo>
                    <a:pt x="180295" y="324530"/>
                  </a:lnTo>
                  <a:lnTo>
                    <a:pt x="180295" y="243398"/>
                  </a:lnTo>
                  <a:close/>
                  <a:moveTo>
                    <a:pt x="432706" y="2254"/>
                  </a:moveTo>
                  <a:cubicBezTo>
                    <a:pt x="440217" y="2254"/>
                    <a:pt x="446604" y="4883"/>
                    <a:pt x="451863" y="10142"/>
                  </a:cubicBezTo>
                  <a:lnTo>
                    <a:pt x="494683" y="52961"/>
                  </a:lnTo>
                  <a:cubicBezTo>
                    <a:pt x="499940" y="58220"/>
                    <a:pt x="502570" y="64606"/>
                    <a:pt x="502570" y="72118"/>
                  </a:cubicBezTo>
                  <a:cubicBezTo>
                    <a:pt x="502570" y="79630"/>
                    <a:pt x="499940" y="86016"/>
                    <a:pt x="494683" y="91274"/>
                  </a:cubicBezTo>
                  <a:lnTo>
                    <a:pt x="468766" y="117191"/>
                  </a:lnTo>
                  <a:lnTo>
                    <a:pt x="387632" y="36059"/>
                  </a:lnTo>
                  <a:lnTo>
                    <a:pt x="413550" y="10142"/>
                  </a:lnTo>
                  <a:cubicBezTo>
                    <a:pt x="418808" y="4883"/>
                    <a:pt x="425194" y="2254"/>
                    <a:pt x="432706" y="2254"/>
                  </a:cubicBezTo>
                  <a:close/>
                  <a:moveTo>
                    <a:pt x="81133" y="0"/>
                  </a:moveTo>
                  <a:lnTo>
                    <a:pt x="315515" y="0"/>
                  </a:lnTo>
                  <a:cubicBezTo>
                    <a:pt x="327347" y="0"/>
                    <a:pt x="338334" y="2348"/>
                    <a:pt x="348476" y="7043"/>
                  </a:cubicBezTo>
                  <a:cubicBezTo>
                    <a:pt x="351293" y="8357"/>
                    <a:pt x="352983" y="10517"/>
                    <a:pt x="353547" y="13522"/>
                  </a:cubicBezTo>
                  <a:cubicBezTo>
                    <a:pt x="354110" y="16715"/>
                    <a:pt x="353265" y="19438"/>
                    <a:pt x="351011" y="21692"/>
                  </a:cubicBezTo>
                  <a:lnTo>
                    <a:pt x="337207" y="35496"/>
                  </a:lnTo>
                  <a:cubicBezTo>
                    <a:pt x="334577" y="38125"/>
                    <a:pt x="331574" y="38876"/>
                    <a:pt x="328193" y="37749"/>
                  </a:cubicBezTo>
                  <a:cubicBezTo>
                    <a:pt x="323872" y="36622"/>
                    <a:pt x="319647" y="36059"/>
                    <a:pt x="315515" y="36059"/>
                  </a:cubicBezTo>
                  <a:lnTo>
                    <a:pt x="81133" y="36059"/>
                  </a:lnTo>
                  <a:cubicBezTo>
                    <a:pt x="68737" y="36059"/>
                    <a:pt x="58126" y="40472"/>
                    <a:pt x="49299" y="49299"/>
                  </a:cubicBezTo>
                  <a:cubicBezTo>
                    <a:pt x="40472" y="58126"/>
                    <a:pt x="36059" y="68737"/>
                    <a:pt x="36059" y="81133"/>
                  </a:cubicBezTo>
                  <a:lnTo>
                    <a:pt x="36059" y="315515"/>
                  </a:lnTo>
                  <a:cubicBezTo>
                    <a:pt x="36059" y="327911"/>
                    <a:pt x="40472" y="338522"/>
                    <a:pt x="49299" y="347349"/>
                  </a:cubicBezTo>
                  <a:cubicBezTo>
                    <a:pt x="58126" y="356176"/>
                    <a:pt x="68737" y="360589"/>
                    <a:pt x="81133" y="360589"/>
                  </a:cubicBezTo>
                  <a:lnTo>
                    <a:pt x="315515" y="360589"/>
                  </a:lnTo>
                  <a:cubicBezTo>
                    <a:pt x="327911" y="360589"/>
                    <a:pt x="338521" y="356176"/>
                    <a:pt x="347349" y="347349"/>
                  </a:cubicBezTo>
                  <a:cubicBezTo>
                    <a:pt x="356176" y="338522"/>
                    <a:pt x="360589" y="327911"/>
                    <a:pt x="360589" y="315515"/>
                  </a:cubicBezTo>
                  <a:lnTo>
                    <a:pt x="360589" y="280020"/>
                  </a:lnTo>
                  <a:cubicBezTo>
                    <a:pt x="360589" y="277579"/>
                    <a:pt x="361435" y="275513"/>
                    <a:pt x="363125" y="273822"/>
                  </a:cubicBezTo>
                  <a:lnTo>
                    <a:pt x="381154" y="255793"/>
                  </a:lnTo>
                  <a:cubicBezTo>
                    <a:pt x="383972" y="252976"/>
                    <a:pt x="387258" y="252318"/>
                    <a:pt x="391014" y="253821"/>
                  </a:cubicBezTo>
                  <a:cubicBezTo>
                    <a:pt x="394770" y="255323"/>
                    <a:pt x="396649" y="258047"/>
                    <a:pt x="396649" y="261991"/>
                  </a:cubicBezTo>
                  <a:lnTo>
                    <a:pt x="396649" y="315515"/>
                  </a:lnTo>
                  <a:cubicBezTo>
                    <a:pt x="396649" y="337865"/>
                    <a:pt x="388713" y="356974"/>
                    <a:pt x="372843" y="372844"/>
                  </a:cubicBezTo>
                  <a:cubicBezTo>
                    <a:pt x="356973" y="388713"/>
                    <a:pt x="337864" y="396648"/>
                    <a:pt x="315515" y="396648"/>
                  </a:cubicBezTo>
                  <a:lnTo>
                    <a:pt x="81133" y="396648"/>
                  </a:lnTo>
                  <a:cubicBezTo>
                    <a:pt x="58783" y="396648"/>
                    <a:pt x="39674" y="388713"/>
                    <a:pt x="23804" y="372844"/>
                  </a:cubicBezTo>
                  <a:cubicBezTo>
                    <a:pt x="7934" y="356974"/>
                    <a:pt x="0" y="337865"/>
                    <a:pt x="0" y="315515"/>
                  </a:cubicBezTo>
                  <a:lnTo>
                    <a:pt x="0" y="81133"/>
                  </a:lnTo>
                  <a:cubicBezTo>
                    <a:pt x="0" y="58784"/>
                    <a:pt x="7934" y="39674"/>
                    <a:pt x="23804" y="23805"/>
                  </a:cubicBezTo>
                  <a:cubicBezTo>
                    <a:pt x="39674" y="7935"/>
                    <a:pt x="58783" y="0"/>
                    <a:pt x="81133" y="0"/>
                  </a:cubicBezTo>
                  <a:close/>
                </a:path>
              </a:pathLst>
            </a:custGeom>
            <a:solidFill>
              <a:srgbClr val="0E457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34" name="直接连接符 20">
            <a:extLst>
              <a:ext uri="{FF2B5EF4-FFF2-40B4-BE49-F238E27FC236}">
                <a16:creationId xmlns:a16="http://schemas.microsoft.com/office/drawing/2014/main" id="{C186BEE0-6575-433F-BEEC-C2DF10EBAC15}"/>
              </a:ext>
            </a:extLst>
          </p:cNvPr>
          <p:cNvCxnSpPr/>
          <p:nvPr/>
        </p:nvCxnSpPr>
        <p:spPr>
          <a:xfrm>
            <a:off x="839416" y="3257859"/>
            <a:ext cx="10620000" cy="0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cxnSp>
        <p:nvCxnSpPr>
          <p:cNvPr id="35" name="直接连接符 20">
            <a:extLst>
              <a:ext uri="{FF2B5EF4-FFF2-40B4-BE49-F238E27FC236}">
                <a16:creationId xmlns:a16="http://schemas.microsoft.com/office/drawing/2014/main" id="{C186BEE0-6575-433F-BEEC-C2DF10EBAC15}"/>
              </a:ext>
            </a:extLst>
          </p:cNvPr>
          <p:cNvCxnSpPr/>
          <p:nvPr/>
        </p:nvCxnSpPr>
        <p:spPr>
          <a:xfrm>
            <a:off x="839416" y="4698019"/>
            <a:ext cx="10620000" cy="0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6398921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24440" y="2701326"/>
            <a:ext cx="5419185" cy="727674"/>
          </a:xfrm>
        </p:spPr>
        <p:txBody>
          <a:bodyPr>
            <a:noAutofit/>
          </a:bodyPr>
          <a:lstStyle/>
          <a:p>
            <a:r>
              <a:rPr lang="en-US" altLang="zh-CN" sz="4400" dirty="0"/>
              <a:t>ECHO</a:t>
            </a:r>
            <a:endParaRPr lang="zh-CN" altLang="en-US" sz="4400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6FFC11D-3423-45DD-9BC2-44A308075CFB}"/>
              </a:ext>
            </a:extLst>
          </p:cNvPr>
          <p:cNvSpPr txBox="1"/>
          <p:nvPr/>
        </p:nvSpPr>
        <p:spPr>
          <a:xfrm>
            <a:off x="3316529" y="1562028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12529F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02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12529F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19846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>
                <a:latin typeface="+mn-lt"/>
                <a:cs typeface="Times New Roman" panose="02020603050405020304" pitchFamily="18" charset="0"/>
              </a:rPr>
              <a:t>Outline</a:t>
            </a:r>
            <a:endParaRPr lang="zh-TW" altLang="en-US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4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1683251" y="1746242"/>
            <a:ext cx="1495602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Introduction</a:t>
            </a:r>
          </a:p>
        </p:txBody>
      </p:sp>
      <p:sp>
        <p:nvSpPr>
          <p:cNvPr id="6" name="Oval 77"/>
          <p:cNvSpPr>
            <a:spLocks noChangeArrowheads="1"/>
          </p:cNvSpPr>
          <p:nvPr/>
        </p:nvSpPr>
        <p:spPr bwMode="auto">
          <a:xfrm>
            <a:off x="1007630" y="1751348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微軟正黑體" panose="020B0604030504040204" pitchFamily="34" charset="-120"/>
              </a:rPr>
              <a:t>1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</a:endParaRPr>
          </a:p>
        </p:txBody>
      </p:sp>
      <p:sp>
        <p:nvSpPr>
          <p:cNvPr id="7" name="Freeform 359"/>
          <p:cNvSpPr>
            <a:spLocks noChangeAspect="1"/>
          </p:cNvSpPr>
          <p:nvPr/>
        </p:nvSpPr>
        <p:spPr>
          <a:xfrm>
            <a:off x="1487520" y="2192909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rgbClr val="DD80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1956302" y="2185119"/>
            <a:ext cx="1623842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What is echo?</a:t>
            </a:r>
          </a:p>
        </p:txBody>
      </p:sp>
      <p:sp>
        <p:nvSpPr>
          <p:cNvPr id="9" name="Freeform 359"/>
          <p:cNvSpPr>
            <a:spLocks noChangeAspect="1"/>
          </p:cNvSpPr>
          <p:nvPr/>
        </p:nvSpPr>
        <p:spPr>
          <a:xfrm>
            <a:off x="1487520" y="2549014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rgbClr val="DD80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1956302" y="2545159"/>
            <a:ext cx="3707650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Why we need to cancel echo?</a:t>
            </a:r>
          </a:p>
        </p:txBody>
      </p:sp>
      <p:sp>
        <p:nvSpPr>
          <p:cNvPr id="11" name="Text Placeholder 3"/>
          <p:cNvSpPr txBox="1">
            <a:spLocks/>
          </p:cNvSpPr>
          <p:nvPr/>
        </p:nvSpPr>
        <p:spPr>
          <a:xfrm>
            <a:off x="1683251" y="3140968"/>
            <a:ext cx="4360168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Room Impulse Response Generator</a:t>
            </a:r>
          </a:p>
        </p:txBody>
      </p:sp>
      <p:sp>
        <p:nvSpPr>
          <p:cNvPr id="12" name="Oval 77"/>
          <p:cNvSpPr>
            <a:spLocks noChangeArrowheads="1"/>
          </p:cNvSpPr>
          <p:nvPr/>
        </p:nvSpPr>
        <p:spPr bwMode="auto">
          <a:xfrm>
            <a:off x="1007630" y="314607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微軟正黑體" panose="020B0604030504040204" pitchFamily="34" charset="-120"/>
              </a:rPr>
              <a:t>2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</a:endParaRPr>
          </a:p>
        </p:txBody>
      </p:sp>
      <p:sp>
        <p:nvSpPr>
          <p:cNvPr id="13" name="Freeform 359"/>
          <p:cNvSpPr>
            <a:spLocks noChangeAspect="1"/>
          </p:cNvSpPr>
          <p:nvPr/>
        </p:nvSpPr>
        <p:spPr>
          <a:xfrm>
            <a:off x="1487520" y="3580806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rgbClr val="DD80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4" name="Text Placeholder 3"/>
          <p:cNvSpPr txBox="1">
            <a:spLocks/>
          </p:cNvSpPr>
          <p:nvPr/>
        </p:nvSpPr>
        <p:spPr>
          <a:xfrm>
            <a:off x="1956302" y="3573016"/>
            <a:ext cx="924933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Inventor</a:t>
            </a:r>
          </a:p>
        </p:txBody>
      </p:sp>
      <p:sp>
        <p:nvSpPr>
          <p:cNvPr id="15" name="Freeform 359"/>
          <p:cNvSpPr>
            <a:spLocks noChangeAspect="1"/>
          </p:cNvSpPr>
          <p:nvPr/>
        </p:nvSpPr>
        <p:spPr>
          <a:xfrm>
            <a:off x="1487520" y="3936911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rgbClr val="DD80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6" name="Text Placeholder 3"/>
          <p:cNvSpPr txBox="1">
            <a:spLocks/>
          </p:cNvSpPr>
          <p:nvPr/>
        </p:nvSpPr>
        <p:spPr>
          <a:xfrm>
            <a:off x="1956302" y="3933056"/>
            <a:ext cx="3707650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Concept of virtual source</a:t>
            </a:r>
          </a:p>
        </p:txBody>
      </p:sp>
      <p:sp>
        <p:nvSpPr>
          <p:cNvPr id="17" name="Freeform 359"/>
          <p:cNvSpPr>
            <a:spLocks noChangeAspect="1"/>
          </p:cNvSpPr>
          <p:nvPr/>
        </p:nvSpPr>
        <p:spPr>
          <a:xfrm>
            <a:off x="1487520" y="4300886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rgbClr val="DD80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8" name="Text Placeholder 3"/>
          <p:cNvSpPr txBox="1">
            <a:spLocks/>
          </p:cNvSpPr>
          <p:nvPr/>
        </p:nvSpPr>
        <p:spPr>
          <a:xfrm>
            <a:off x="1956302" y="4293096"/>
            <a:ext cx="2564805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定義虛擬源位置、座標</a:t>
            </a:r>
          </a:p>
        </p:txBody>
      </p:sp>
      <p:sp>
        <p:nvSpPr>
          <p:cNvPr id="19" name="Freeform 359"/>
          <p:cNvSpPr>
            <a:spLocks noChangeAspect="1"/>
          </p:cNvSpPr>
          <p:nvPr/>
        </p:nvSpPr>
        <p:spPr>
          <a:xfrm>
            <a:off x="1487520" y="4656991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rgbClr val="DD80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0" name="Text Placeholder 3"/>
          <p:cNvSpPr txBox="1">
            <a:spLocks/>
          </p:cNvSpPr>
          <p:nvPr/>
        </p:nvSpPr>
        <p:spPr>
          <a:xfrm>
            <a:off x="1956302" y="4653136"/>
            <a:ext cx="3707650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定義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each impulse</a:t>
            </a:r>
          </a:p>
        </p:txBody>
      </p:sp>
      <p:sp>
        <p:nvSpPr>
          <p:cNvPr id="21" name="Text Placeholder 3"/>
          <p:cNvSpPr txBox="1">
            <a:spLocks/>
          </p:cNvSpPr>
          <p:nvPr/>
        </p:nvSpPr>
        <p:spPr>
          <a:xfrm>
            <a:off x="1683251" y="5229200"/>
            <a:ext cx="3608488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Least Mean Square Algorithm</a:t>
            </a:r>
          </a:p>
        </p:txBody>
      </p:sp>
      <p:sp>
        <p:nvSpPr>
          <p:cNvPr id="22" name="Oval 77"/>
          <p:cNvSpPr>
            <a:spLocks noChangeArrowheads="1"/>
          </p:cNvSpPr>
          <p:nvPr/>
        </p:nvSpPr>
        <p:spPr bwMode="auto">
          <a:xfrm>
            <a:off x="1007630" y="5234306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微軟正黑體" panose="020B0604030504040204" pitchFamily="34" charset="-120"/>
              </a:rPr>
              <a:t>3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</a:endParaRPr>
          </a:p>
        </p:txBody>
      </p:sp>
      <p:sp>
        <p:nvSpPr>
          <p:cNvPr id="23" name="Freeform 359"/>
          <p:cNvSpPr>
            <a:spLocks noChangeAspect="1"/>
          </p:cNvSpPr>
          <p:nvPr/>
        </p:nvSpPr>
        <p:spPr>
          <a:xfrm>
            <a:off x="1487520" y="5700301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rgbClr val="DD80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4" name="Text Placeholder 3"/>
          <p:cNvSpPr txBox="1">
            <a:spLocks/>
          </p:cNvSpPr>
          <p:nvPr/>
        </p:nvSpPr>
        <p:spPr>
          <a:xfrm>
            <a:off x="1956302" y="5692511"/>
            <a:ext cx="2278124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ystem Architecture</a:t>
            </a:r>
          </a:p>
        </p:txBody>
      </p:sp>
      <p:sp>
        <p:nvSpPr>
          <p:cNvPr id="25" name="Freeform 359"/>
          <p:cNvSpPr>
            <a:spLocks noChangeAspect="1"/>
          </p:cNvSpPr>
          <p:nvPr/>
        </p:nvSpPr>
        <p:spPr>
          <a:xfrm>
            <a:off x="1487520" y="6097151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rgbClr val="DD80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6" name="Text Placeholder 3"/>
          <p:cNvSpPr txBox="1">
            <a:spLocks/>
          </p:cNvSpPr>
          <p:nvPr/>
        </p:nvSpPr>
        <p:spPr>
          <a:xfrm>
            <a:off x="1956302" y="6093296"/>
            <a:ext cx="3707650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Algorithm</a:t>
            </a:r>
          </a:p>
        </p:txBody>
      </p:sp>
      <p:sp>
        <p:nvSpPr>
          <p:cNvPr id="27" name="Freeform 359"/>
          <p:cNvSpPr>
            <a:spLocks noChangeAspect="1"/>
          </p:cNvSpPr>
          <p:nvPr/>
        </p:nvSpPr>
        <p:spPr>
          <a:xfrm>
            <a:off x="1487520" y="6461126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rgbClr val="DD80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8" name="Text Placeholder 3"/>
          <p:cNvSpPr txBox="1">
            <a:spLocks/>
          </p:cNvSpPr>
          <p:nvPr/>
        </p:nvSpPr>
        <p:spPr>
          <a:xfrm>
            <a:off x="1956302" y="6453336"/>
            <a:ext cx="2106346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Mean square error</a:t>
            </a:r>
          </a:p>
        </p:txBody>
      </p:sp>
    </p:spTree>
    <p:extLst>
      <p:ext uri="{BB962C8B-B14F-4D97-AF65-F5344CB8AC3E}">
        <p14:creationId xmlns:p14="http://schemas.microsoft.com/office/powerpoint/2010/main" val="10394335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標題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/>
              <a:t>Introduction (1/2)</a:t>
            </a:r>
            <a:endParaRPr lang="zh-TW" altLang="en-US" dirty="0"/>
          </a:p>
        </p:txBody>
      </p:sp>
      <p:sp>
        <p:nvSpPr>
          <p:cNvPr id="4" name="文字方塊 3"/>
          <p:cNvSpPr txBox="1"/>
          <p:nvPr/>
        </p:nvSpPr>
        <p:spPr>
          <a:xfrm>
            <a:off x="1703512" y="4052102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>
                <a:latin typeface="+mn-lt"/>
                <a:cs typeface="Times New Roman" panose="02020603050405020304" pitchFamily="18" charset="0"/>
              </a:rPr>
              <a:t>Speech</a:t>
            </a:r>
            <a:endParaRPr lang="zh-TW" altLang="en-US" dirty="0">
              <a:latin typeface="+mn-lt"/>
              <a:cs typeface="Times New Roman" panose="02020603050405020304" pitchFamily="18" charset="0"/>
            </a:endParaRPr>
          </a:p>
        </p:txBody>
      </p:sp>
      <p:cxnSp>
        <p:nvCxnSpPr>
          <p:cNvPr id="6" name="直線單箭頭接點 5"/>
          <p:cNvCxnSpPr/>
          <p:nvPr/>
        </p:nvCxnSpPr>
        <p:spPr>
          <a:xfrm>
            <a:off x="3591622" y="3212976"/>
            <a:ext cx="1296144" cy="0"/>
          </a:xfrm>
          <a:prstGeom prst="straightConnector1">
            <a:avLst/>
          </a:prstGeom>
          <a:ln w="349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橢圓 4"/>
          <p:cNvSpPr/>
          <p:nvPr/>
        </p:nvSpPr>
        <p:spPr>
          <a:xfrm>
            <a:off x="4887766" y="2783039"/>
            <a:ext cx="2467866" cy="7920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dirty="0"/>
              <a:t>convolution</a:t>
            </a:r>
            <a:endParaRPr lang="zh-TW" altLang="en-US" dirty="0"/>
          </a:p>
        </p:txBody>
      </p:sp>
      <p:sp>
        <p:nvSpPr>
          <p:cNvPr id="9" name="文字方塊 8"/>
          <p:cNvSpPr txBox="1"/>
          <p:nvPr/>
        </p:nvSpPr>
        <p:spPr>
          <a:xfrm>
            <a:off x="5015880" y="6217516"/>
            <a:ext cx="26164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>
                <a:latin typeface="+mn-lt"/>
                <a:cs typeface="Times New Roman" panose="02020603050405020304" pitchFamily="18" charset="0"/>
              </a:rPr>
              <a:t>Impulse response</a:t>
            </a:r>
            <a:endParaRPr lang="zh-TW" altLang="en-US" dirty="0">
              <a:latin typeface="+mn-lt"/>
              <a:cs typeface="Times New Roman" panose="02020603050405020304" pitchFamily="18" charset="0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768" y="4509121"/>
            <a:ext cx="4429098" cy="1558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直線單箭頭接點 10"/>
          <p:cNvCxnSpPr/>
          <p:nvPr/>
        </p:nvCxnSpPr>
        <p:spPr>
          <a:xfrm flipV="1">
            <a:off x="6131496" y="3669995"/>
            <a:ext cx="0" cy="751438"/>
          </a:xfrm>
          <a:prstGeom prst="straightConnector1">
            <a:avLst/>
          </a:prstGeom>
          <a:ln w="349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線單箭頭接點 21"/>
          <p:cNvCxnSpPr/>
          <p:nvPr/>
        </p:nvCxnSpPr>
        <p:spPr>
          <a:xfrm>
            <a:off x="7355632" y="3197507"/>
            <a:ext cx="1296144" cy="0"/>
          </a:xfrm>
          <a:prstGeom prst="straightConnector1">
            <a:avLst/>
          </a:prstGeom>
          <a:ln w="349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文字方塊 22"/>
          <p:cNvSpPr txBox="1"/>
          <p:nvPr/>
        </p:nvSpPr>
        <p:spPr>
          <a:xfrm>
            <a:off x="9552384" y="4161778"/>
            <a:ext cx="8867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>
                <a:latin typeface="+mn-lt"/>
                <a:cs typeface="Times New Roman" panose="02020603050405020304" pitchFamily="18" charset="0"/>
              </a:rPr>
              <a:t>Echo</a:t>
            </a:r>
            <a:endParaRPr lang="zh-TW" altLang="en-US" dirty="0">
              <a:latin typeface="+mn-lt"/>
              <a:cs typeface="Times New Roman" panose="02020603050405020304" pitchFamily="18" charset="0"/>
            </a:endParaRPr>
          </a:p>
        </p:txBody>
      </p:sp>
      <p:pic>
        <p:nvPicPr>
          <p:cNvPr id="8" name="圖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1122" y="2319092"/>
            <a:ext cx="2090582" cy="1787768"/>
          </a:xfrm>
          <a:prstGeom prst="rect">
            <a:avLst/>
          </a:prstGeom>
        </p:spPr>
      </p:pic>
      <p:pic>
        <p:nvPicPr>
          <p:cNvPr id="10" name="圖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20929" y="2301893"/>
            <a:ext cx="2379119" cy="1859885"/>
          </a:xfrm>
          <a:prstGeom prst="rect">
            <a:avLst/>
          </a:prstGeom>
        </p:spPr>
      </p:pic>
      <p:sp>
        <p:nvSpPr>
          <p:cNvPr id="15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6" name="Text Placeholder 3"/>
          <p:cNvSpPr txBox="1">
            <a:spLocks/>
          </p:cNvSpPr>
          <p:nvPr/>
        </p:nvSpPr>
        <p:spPr>
          <a:xfrm>
            <a:off x="958478" y="1691516"/>
            <a:ext cx="2083904" cy="36933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algn="l">
              <a:spcBef>
                <a:spcPts val="700"/>
              </a:spcBef>
              <a:buClr>
                <a:srgbClr val="DD8047"/>
              </a:buClr>
              <a:buSzPct val="60000"/>
              <a:defRPr/>
            </a:pPr>
            <a:r>
              <a:rPr lang="en-US" altLang="zh-TW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+mj-ea"/>
              </a:rPr>
              <a:t>What is echo?</a:t>
            </a:r>
          </a:p>
        </p:txBody>
      </p:sp>
    </p:spTree>
    <p:extLst>
      <p:ext uri="{BB962C8B-B14F-4D97-AF65-F5344CB8AC3E}">
        <p14:creationId xmlns:p14="http://schemas.microsoft.com/office/powerpoint/2010/main" val="5381941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Introduction (2/2)</a:t>
            </a:r>
            <a:endParaRPr lang="zh-TW" altLang="en-US" dirty="0"/>
          </a:p>
        </p:txBody>
      </p:sp>
      <p:pic>
        <p:nvPicPr>
          <p:cNvPr id="1026" name="Picture 2" descr="C:\Users\KK\Desktop\ech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15680" y="2354977"/>
            <a:ext cx="4392488" cy="2399697"/>
          </a:xfrm>
          <a:prstGeom prst="rect">
            <a:avLst/>
          </a:prstGeom>
          <a:noFill/>
        </p:spPr>
      </p:pic>
      <p:sp>
        <p:nvSpPr>
          <p:cNvPr id="8" name="向右箭號 7"/>
          <p:cNvSpPr/>
          <p:nvPr/>
        </p:nvSpPr>
        <p:spPr>
          <a:xfrm>
            <a:off x="3090038" y="5059956"/>
            <a:ext cx="360000" cy="216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1" name="向下箭號 10"/>
          <p:cNvSpPr/>
          <p:nvPr/>
        </p:nvSpPr>
        <p:spPr>
          <a:xfrm>
            <a:off x="8808471" y="5437152"/>
            <a:ext cx="216000" cy="3600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3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4" name="Text Placeholder 3"/>
          <p:cNvSpPr txBox="1">
            <a:spLocks/>
          </p:cNvSpPr>
          <p:nvPr/>
        </p:nvSpPr>
        <p:spPr>
          <a:xfrm>
            <a:off x="958478" y="1691516"/>
            <a:ext cx="4356962" cy="36933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algn="l">
              <a:spcBef>
                <a:spcPts val="700"/>
              </a:spcBef>
              <a:buClr>
                <a:srgbClr val="DD8047"/>
              </a:buClr>
              <a:buSzPct val="60000"/>
              <a:defRPr/>
            </a:pPr>
            <a:r>
              <a:rPr lang="en-US" altLang="zh-TW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+mj-ea"/>
              </a:rPr>
              <a:t>Why we need to cancel echo?</a:t>
            </a:r>
          </a:p>
        </p:txBody>
      </p:sp>
      <p:sp>
        <p:nvSpPr>
          <p:cNvPr id="4" name="文字方塊 3"/>
          <p:cNvSpPr txBox="1"/>
          <p:nvPr/>
        </p:nvSpPr>
        <p:spPr>
          <a:xfrm>
            <a:off x="1631504" y="4994534"/>
            <a:ext cx="1372680" cy="369332"/>
          </a:xfrm>
          <a:prstGeom prst="rect">
            <a:avLst/>
          </a:prstGeom>
          <a:solidFill>
            <a:srgbClr val="12529F"/>
          </a:solidFill>
        </p:spPr>
        <p:txBody>
          <a:bodyPr wrap="square" rtlCol="0">
            <a:spAutoFit/>
          </a:bodyPr>
          <a:lstStyle/>
          <a:p>
            <a:r>
              <a:rPr lang="zh-TW" altLang="en-US" sz="1800" dirty="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遠端者說話</a:t>
            </a:r>
          </a:p>
        </p:txBody>
      </p:sp>
      <p:sp>
        <p:nvSpPr>
          <p:cNvPr id="18" name="文字方塊 17"/>
          <p:cNvSpPr txBox="1"/>
          <p:nvPr/>
        </p:nvSpPr>
        <p:spPr>
          <a:xfrm>
            <a:off x="3510773" y="4994534"/>
            <a:ext cx="1813508" cy="369332"/>
          </a:xfrm>
          <a:prstGeom prst="rect">
            <a:avLst/>
          </a:prstGeom>
          <a:solidFill>
            <a:srgbClr val="7F7F7F"/>
          </a:solidFill>
        </p:spPr>
        <p:txBody>
          <a:bodyPr wrap="square" rtlCol="0">
            <a:spAutoFit/>
          </a:bodyPr>
          <a:lstStyle/>
          <a:p>
            <a:r>
              <a:rPr lang="zh-TW" altLang="en-US" sz="1800" dirty="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近端揚聲器輸出</a:t>
            </a:r>
          </a:p>
        </p:txBody>
      </p:sp>
      <p:sp>
        <p:nvSpPr>
          <p:cNvPr id="19" name="文字方塊 18"/>
          <p:cNvSpPr txBox="1"/>
          <p:nvPr/>
        </p:nvSpPr>
        <p:spPr>
          <a:xfrm>
            <a:off x="5828336" y="4987700"/>
            <a:ext cx="5855663" cy="369332"/>
          </a:xfrm>
          <a:prstGeom prst="rect">
            <a:avLst/>
          </a:prstGeom>
          <a:solidFill>
            <a:srgbClr val="12529F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TW" altLang="en-US" sz="1800" dirty="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在近端的室內經過牆壁或是任何物體反射</a:t>
            </a:r>
          </a:p>
        </p:txBody>
      </p:sp>
      <p:sp>
        <p:nvSpPr>
          <p:cNvPr id="20" name="文字方塊 19"/>
          <p:cNvSpPr txBox="1"/>
          <p:nvPr/>
        </p:nvSpPr>
        <p:spPr>
          <a:xfrm>
            <a:off x="5815051" y="5877272"/>
            <a:ext cx="5880794" cy="369332"/>
          </a:xfrm>
          <a:prstGeom prst="rect">
            <a:avLst/>
          </a:prstGeom>
          <a:solidFill>
            <a:srgbClr val="7F7F7F"/>
          </a:solidFill>
        </p:spPr>
        <p:txBody>
          <a:bodyPr wrap="square" rtlCol="0">
            <a:spAutoFit/>
          </a:bodyPr>
          <a:lstStyle/>
          <a:p>
            <a:r>
              <a:rPr lang="zh-TW" altLang="en-US" sz="1800" dirty="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部分反射聲音與近端說話者聲音，一同進去近端麥克風</a:t>
            </a:r>
          </a:p>
        </p:txBody>
      </p:sp>
      <p:sp>
        <p:nvSpPr>
          <p:cNvPr id="21" name="文字方塊 20"/>
          <p:cNvSpPr txBox="1"/>
          <p:nvPr/>
        </p:nvSpPr>
        <p:spPr>
          <a:xfrm>
            <a:off x="994960" y="5877272"/>
            <a:ext cx="4320480" cy="369332"/>
          </a:xfrm>
          <a:prstGeom prst="rect">
            <a:avLst/>
          </a:prstGeom>
          <a:solidFill>
            <a:srgbClr val="12529F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TW" altLang="en-US" sz="1800" b="1" dirty="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遠端的人聽到前一個時間點自己的聲音</a:t>
            </a:r>
          </a:p>
        </p:txBody>
      </p:sp>
      <p:sp>
        <p:nvSpPr>
          <p:cNvPr id="23" name="向右箭號 22"/>
          <p:cNvSpPr/>
          <p:nvPr/>
        </p:nvSpPr>
        <p:spPr>
          <a:xfrm>
            <a:off x="5398511" y="5059956"/>
            <a:ext cx="360000" cy="216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5" name="向右箭號 24"/>
          <p:cNvSpPr/>
          <p:nvPr/>
        </p:nvSpPr>
        <p:spPr>
          <a:xfrm rot="10800000">
            <a:off x="5375960" y="5921432"/>
            <a:ext cx="360000" cy="216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659214029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24440" y="2701326"/>
            <a:ext cx="6072160" cy="1303738"/>
          </a:xfrm>
        </p:spPr>
        <p:txBody>
          <a:bodyPr>
            <a:noAutofit/>
          </a:bodyPr>
          <a:lstStyle/>
          <a:p>
            <a:r>
              <a:rPr lang="en-US" altLang="zh-CN" sz="4400" dirty="0"/>
              <a:t>Room Impulse Response Generator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6FFC11D-3423-45DD-9BC2-44A308075CFB}"/>
              </a:ext>
            </a:extLst>
          </p:cNvPr>
          <p:cNvSpPr txBox="1"/>
          <p:nvPr/>
        </p:nvSpPr>
        <p:spPr>
          <a:xfrm>
            <a:off x="3316529" y="1562028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12529F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03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12529F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424440" y="4941168"/>
            <a:ext cx="603864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Ref : A-Model-for-Room-Acoustics(</a:t>
            </a:r>
            <a:r>
              <a:rPr lang="zh-TW" altLang="en-US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附檔</a:t>
            </a:r>
            <a:r>
              <a:rPr lang="en-US" altLang="zh-TW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)</a:t>
            </a:r>
            <a:endParaRPr lang="zh-TW" altLang="en-US" b="1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32847605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>
                <a:latin typeface="+mj-lt"/>
                <a:cs typeface="Times New Roman" panose="02020603050405020304" pitchFamily="18" charset="0"/>
              </a:rPr>
              <a:t>Room Impulse Response Generator (1/7)</a:t>
            </a:r>
            <a:endParaRPr lang="zh-TW" altLang="en-US" dirty="0">
              <a:latin typeface="+mj-lt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648" y="3140968"/>
            <a:ext cx="5976664" cy="326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1683251" y="1746242"/>
            <a:ext cx="1011495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Inventor</a:t>
            </a:r>
          </a:p>
        </p:txBody>
      </p:sp>
      <p:sp>
        <p:nvSpPr>
          <p:cNvPr id="8" name="Oval 77"/>
          <p:cNvSpPr>
            <a:spLocks noChangeArrowheads="1"/>
          </p:cNvSpPr>
          <p:nvPr/>
        </p:nvSpPr>
        <p:spPr bwMode="auto">
          <a:xfrm>
            <a:off x="1007630" y="1751348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微軟正黑體" panose="020B0604030504040204" pitchFamily="34" charset="-120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</a:endParaRPr>
          </a:p>
        </p:txBody>
      </p:sp>
      <p:sp>
        <p:nvSpPr>
          <p:cNvPr id="9" name="Freeform 359"/>
          <p:cNvSpPr>
            <a:spLocks noChangeAspect="1"/>
          </p:cNvSpPr>
          <p:nvPr/>
        </p:nvSpPr>
        <p:spPr>
          <a:xfrm>
            <a:off x="1487520" y="2336925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rgbClr val="DD80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1956302" y="2334237"/>
            <a:ext cx="9540298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為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. McGovern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所提供的工具，只要輸入所需參數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房間大小、喇叭位置、麥克風位置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…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等等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)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，即可模擬出一空間的 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Acoustic Impulse Response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以及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Echo</a:t>
            </a:r>
          </a:p>
        </p:txBody>
      </p:sp>
    </p:spTree>
    <p:extLst>
      <p:ext uri="{BB962C8B-B14F-4D97-AF65-F5344CB8AC3E}">
        <p14:creationId xmlns:p14="http://schemas.microsoft.com/office/powerpoint/2010/main" val="5521274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>
                <a:latin typeface="+mj-lt"/>
                <a:cs typeface="Times New Roman" panose="02020603050405020304" pitchFamily="18" charset="0"/>
              </a:rPr>
              <a:t>Room Impulse Response Generator (2/7)</a:t>
            </a:r>
            <a:endParaRPr lang="zh-TW" altLang="en-US" dirty="0">
              <a:latin typeface="+mj-lt"/>
            </a:endParaRPr>
          </a:p>
        </p:txBody>
      </p:sp>
      <p:pic>
        <p:nvPicPr>
          <p:cNvPr id="5" name="圖片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39616" y="2221483"/>
            <a:ext cx="1367064" cy="1179093"/>
          </a:xfrm>
          <a:prstGeom prst="rect">
            <a:avLst/>
          </a:prstGeom>
        </p:spPr>
      </p:pic>
      <p:sp>
        <p:nvSpPr>
          <p:cNvPr id="8" name="文字方塊 7"/>
          <p:cNvSpPr txBox="1"/>
          <p:nvPr/>
        </p:nvSpPr>
        <p:spPr>
          <a:xfrm>
            <a:off x="4583832" y="4207933"/>
            <a:ext cx="18020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2800" b="1" dirty="0">
                <a:latin typeface="+mj-lt"/>
                <a:cs typeface="Times New Roman" panose="02020603050405020304" pitchFamily="18" charset="0"/>
              </a:rPr>
              <a:t>In church</a:t>
            </a:r>
            <a:endParaRPr lang="zh-TW" altLang="en-US" sz="2800" b="1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9" name="文字方塊 8"/>
          <p:cNvSpPr txBox="1"/>
          <p:nvPr/>
        </p:nvSpPr>
        <p:spPr>
          <a:xfrm>
            <a:off x="4583832" y="2568368"/>
            <a:ext cx="15408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2800" b="1" dirty="0">
                <a:latin typeface="+mj-lt"/>
                <a:cs typeface="Times New Roman" panose="02020603050405020304" pitchFamily="18" charset="0"/>
              </a:rPr>
              <a:t>Original</a:t>
            </a:r>
            <a:endParaRPr lang="zh-TW" altLang="en-US" sz="2800" b="1" dirty="0">
              <a:latin typeface="+mj-lt"/>
              <a:cs typeface="Times New Roman" panose="02020603050405020304" pitchFamily="18" charset="0"/>
            </a:endParaRPr>
          </a:p>
        </p:txBody>
      </p:sp>
      <p:pic>
        <p:nvPicPr>
          <p:cNvPr id="10" name="19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7032104" y="2554701"/>
            <a:ext cx="609600" cy="609600"/>
          </a:xfrm>
          <a:prstGeom prst="rect">
            <a:avLst/>
          </a:prstGeom>
        </p:spPr>
      </p:pic>
      <p:pic>
        <p:nvPicPr>
          <p:cNvPr id="11" name="garen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7032104" y="4151076"/>
            <a:ext cx="609600" cy="609600"/>
          </a:xfrm>
          <a:prstGeom prst="rect">
            <a:avLst/>
          </a:prstGeom>
        </p:spPr>
      </p:pic>
      <p:pic>
        <p:nvPicPr>
          <p:cNvPr id="12" name="圖片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39616" y="3861048"/>
            <a:ext cx="1367064" cy="1179093"/>
          </a:xfrm>
          <a:prstGeom prst="rect">
            <a:avLst/>
          </a:prstGeom>
        </p:spPr>
      </p:pic>
      <p:pic>
        <p:nvPicPr>
          <p:cNvPr id="13" name="圖片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39616" y="5440608"/>
            <a:ext cx="1367064" cy="1179093"/>
          </a:xfrm>
          <a:prstGeom prst="rect">
            <a:avLst/>
          </a:prstGeom>
        </p:spPr>
      </p:pic>
      <p:sp>
        <p:nvSpPr>
          <p:cNvPr id="14" name="文字方塊 13"/>
          <p:cNvSpPr txBox="1"/>
          <p:nvPr/>
        </p:nvSpPr>
        <p:spPr>
          <a:xfrm>
            <a:off x="4820393" y="5878150"/>
            <a:ext cx="120359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2800" b="1" dirty="0">
                <a:latin typeface="+mj-lt"/>
                <a:cs typeface="Times New Roman" panose="02020603050405020304" pitchFamily="18" charset="0"/>
              </a:rPr>
              <a:t>Valley</a:t>
            </a:r>
            <a:endParaRPr lang="zh-TW" altLang="en-US" sz="2800" b="1" dirty="0">
              <a:latin typeface="+mj-lt"/>
              <a:cs typeface="Times New Roman" panose="02020603050405020304" pitchFamily="18" charset="0"/>
            </a:endParaRPr>
          </a:p>
        </p:txBody>
      </p:sp>
      <p:pic>
        <p:nvPicPr>
          <p:cNvPr id="4" name="garen_mountain">
            <a:hlinkClick r:id="" action="ppaction://media"/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7032104" y="5800400"/>
            <a:ext cx="609600" cy="609600"/>
          </a:xfrm>
          <a:prstGeom prst="rect">
            <a:avLst/>
          </a:prstGeom>
        </p:spPr>
      </p:pic>
      <p:sp>
        <p:nvSpPr>
          <p:cNvPr id="15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7" name="Text Placeholder 3"/>
          <p:cNvSpPr txBox="1">
            <a:spLocks/>
          </p:cNvSpPr>
          <p:nvPr/>
        </p:nvSpPr>
        <p:spPr>
          <a:xfrm>
            <a:off x="958478" y="1691516"/>
            <a:ext cx="1266372" cy="36933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algn="l">
              <a:spcBef>
                <a:spcPts val="700"/>
              </a:spcBef>
              <a:buClr>
                <a:srgbClr val="DD8047"/>
              </a:buClr>
              <a:buSzPct val="60000"/>
              <a:defRPr/>
            </a:pPr>
            <a:r>
              <a:rPr lang="en-US" altLang="zh-TW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Fill>
                  <a:solidFill>
                    <a:srgbClr val="0E457D"/>
                  </a:solidFill>
                </a:uFill>
                <a:latin typeface="Arial" panose="020B0604020202020204" pitchFamily="34" charset="0"/>
                <a:ea typeface="+mj-ea"/>
              </a:rPr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775740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62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1462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audio>
              <p:cMediaNode vol="80000">
                <p:cTn id="1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8" dur="415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>
                <a:latin typeface="+mj-lt"/>
                <a:cs typeface="Times New Roman" panose="02020603050405020304" pitchFamily="18" charset="0"/>
              </a:rPr>
              <a:t>Room Impulse Response Generator (3/7)</a:t>
            </a:r>
            <a:endParaRPr lang="zh-TW" altLang="en-US" dirty="0">
              <a:latin typeface="+mj-lt"/>
            </a:endParaRPr>
          </a:p>
        </p:txBody>
      </p:sp>
      <p:sp>
        <p:nvSpPr>
          <p:cNvPr id="7" name="文字方塊 6"/>
          <p:cNvSpPr txBox="1"/>
          <p:nvPr/>
        </p:nvSpPr>
        <p:spPr>
          <a:xfrm>
            <a:off x="2145224" y="2488871"/>
            <a:ext cx="33265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喇叭傳送一個信號給麥克風 </a:t>
            </a:r>
            <a:endParaRPr lang="zh-TW" altLang="en-US" sz="2000" b="1" dirty="0">
              <a:ea typeface="微軟正黑體" panose="020B0604030504040204" pitchFamily="34" charset="-12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1988364" y="2276872"/>
            <a:ext cx="8212092" cy="276627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TW" altLang="en-US"/>
          </a:p>
        </p:txBody>
      </p:sp>
      <p:pic>
        <p:nvPicPr>
          <p:cNvPr id="10" name="Picture 2" descr="http://www.yooyoo360.com/photo/2009-1-5/20090114085735607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814" y="2405240"/>
            <a:ext cx="8636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 descr="http://ec1img.pchome.com.tw/pic/v1/data/item/201311/C/B/A/Y/1/X/CBAY1X-A81465844000_5295b44e10e4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2233" y="4076417"/>
            <a:ext cx="804863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直線單箭頭接點 11"/>
          <p:cNvCxnSpPr>
            <a:endCxn id="11" idx="0"/>
          </p:cNvCxnSpPr>
          <p:nvPr/>
        </p:nvCxnSpPr>
        <p:spPr>
          <a:xfrm flipH="1">
            <a:off x="5403871" y="3147731"/>
            <a:ext cx="833437" cy="928687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單箭頭接點 13"/>
          <p:cNvCxnSpPr/>
          <p:nvPr/>
        </p:nvCxnSpPr>
        <p:spPr>
          <a:xfrm>
            <a:off x="6882578" y="3108008"/>
            <a:ext cx="992188" cy="55562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單箭頭接點 14"/>
          <p:cNvCxnSpPr/>
          <p:nvPr/>
        </p:nvCxnSpPr>
        <p:spPr>
          <a:xfrm flipH="1">
            <a:off x="5793755" y="3709770"/>
            <a:ext cx="2054178" cy="843262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http://www.yooyoo360.com/photo/2009-1-5/20090114085735607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6816" y="2348880"/>
            <a:ext cx="8636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直線單箭頭接點 17"/>
          <p:cNvCxnSpPr/>
          <p:nvPr/>
        </p:nvCxnSpPr>
        <p:spPr>
          <a:xfrm flipH="1">
            <a:off x="7906566" y="3148980"/>
            <a:ext cx="1038452" cy="532114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0" name="Text Placeholder 3"/>
          <p:cNvSpPr txBox="1">
            <a:spLocks/>
          </p:cNvSpPr>
          <p:nvPr/>
        </p:nvSpPr>
        <p:spPr>
          <a:xfrm>
            <a:off x="958478" y="1691516"/>
            <a:ext cx="3709349" cy="36933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algn="l">
              <a:spcBef>
                <a:spcPts val="700"/>
              </a:spcBef>
              <a:buClr>
                <a:srgbClr val="DD8047"/>
              </a:buClr>
              <a:buSzPct val="60000"/>
              <a:defRPr/>
            </a:pPr>
            <a:r>
              <a:rPr lang="en-US" altLang="zh-TW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E457D"/>
                  </a:solidFill>
                </a:uFill>
                <a:latin typeface="Arial" panose="020B0604020202020204" pitchFamily="34" charset="0"/>
                <a:ea typeface="+mj-ea"/>
              </a:rPr>
              <a:t>Concept of virtual source</a:t>
            </a:r>
          </a:p>
        </p:txBody>
      </p:sp>
      <p:sp>
        <p:nvSpPr>
          <p:cNvPr id="23" name="Text Placeholder 3"/>
          <p:cNvSpPr txBox="1">
            <a:spLocks/>
          </p:cNvSpPr>
          <p:nvPr/>
        </p:nvSpPr>
        <p:spPr>
          <a:xfrm>
            <a:off x="1920897" y="5407934"/>
            <a:ext cx="6825586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若聲音經由牆壁反射至麥克風，聲音的路徑距離該如何計算</a:t>
            </a: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?</a:t>
            </a:r>
          </a:p>
        </p:txBody>
      </p:sp>
      <p:sp>
        <p:nvSpPr>
          <p:cNvPr id="24" name="Oval 77"/>
          <p:cNvSpPr>
            <a:spLocks noChangeArrowheads="1"/>
          </p:cNvSpPr>
          <p:nvPr/>
        </p:nvSpPr>
        <p:spPr bwMode="auto">
          <a:xfrm>
            <a:off x="1245276" y="5413040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微軟正黑體" panose="020B0604030504040204" pitchFamily="34" charset="-120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</a:endParaRPr>
          </a:p>
        </p:txBody>
      </p:sp>
      <p:sp>
        <p:nvSpPr>
          <p:cNvPr id="25" name="Freeform 359"/>
          <p:cNvSpPr>
            <a:spLocks noChangeAspect="1"/>
          </p:cNvSpPr>
          <p:nvPr/>
        </p:nvSpPr>
        <p:spPr>
          <a:xfrm>
            <a:off x="1725166" y="5879781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rgbClr val="DD80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6" name="Text Placeholder 3"/>
          <p:cNvSpPr txBox="1">
            <a:spLocks/>
          </p:cNvSpPr>
          <p:nvPr/>
        </p:nvSpPr>
        <p:spPr>
          <a:xfrm>
            <a:off x="2193948" y="5877272"/>
            <a:ext cx="7694414" cy="67710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假設有一個虛擬聲源傳送一直線聲音至麥克風，利用麥克風的座標、</a:t>
            </a:r>
            <a:endParaRPr kumimoji="0" lang="en-US" altLang="zh-TW" sz="200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虛擬源的座標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畢氏定理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)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即可獲得聲音反射路徑的距離。</a:t>
            </a:r>
          </a:p>
        </p:txBody>
      </p:sp>
    </p:spTree>
    <p:extLst>
      <p:ext uri="{BB962C8B-B14F-4D97-AF65-F5344CB8AC3E}">
        <p14:creationId xmlns:p14="http://schemas.microsoft.com/office/powerpoint/2010/main" val="1079437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>
                <a:latin typeface="+mj-lt"/>
                <a:cs typeface="Times New Roman" panose="02020603050405020304" pitchFamily="18" charset="0"/>
              </a:rPr>
              <a:t>Room Impulse Response Generator (4/7)</a:t>
            </a:r>
            <a:endParaRPr lang="zh-TW" altLang="en-US" dirty="0">
              <a:latin typeface="+mj-lt"/>
            </a:endParaRPr>
          </a:p>
        </p:txBody>
      </p:sp>
      <p:sp>
        <p:nvSpPr>
          <p:cNvPr id="19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0" name="Text Placeholder 3"/>
          <p:cNvSpPr txBox="1">
            <a:spLocks/>
          </p:cNvSpPr>
          <p:nvPr/>
        </p:nvSpPr>
        <p:spPr>
          <a:xfrm>
            <a:off x="958478" y="1691516"/>
            <a:ext cx="5137522" cy="3693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algn="l">
              <a:spcBef>
                <a:spcPts val="700"/>
              </a:spcBef>
              <a:buClr>
                <a:srgbClr val="DD8047"/>
              </a:buClr>
              <a:buSzPct val="60000"/>
              <a:defRPr/>
            </a:pPr>
            <a:r>
              <a:rPr lang="zh-TW" altLang="en-US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E457D"/>
                  </a:solidFill>
                </a:uFill>
                <a:latin typeface="Arial" panose="020B0604020202020204" pitchFamily="34" charset="0"/>
                <a:ea typeface="+mj-ea"/>
              </a:rPr>
              <a:t>定義虛擬源位置  </a:t>
            </a:r>
            <a:r>
              <a:rPr lang="en-US" altLang="zh-TW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E457D"/>
                  </a:solidFill>
                </a:uFill>
                <a:latin typeface="Arial" panose="020B0604020202020204" pitchFamily="34" charset="0"/>
                <a:ea typeface="+mj-ea"/>
              </a:rPr>
              <a:t>(</a:t>
            </a:r>
            <a:r>
              <a:rPr lang="zh-TW" altLang="en-US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E457D"/>
                  </a:solidFill>
                </a:uFill>
                <a:latin typeface="Arial" panose="020B0604020202020204" pitchFamily="34" charset="0"/>
                <a:ea typeface="+mj-ea"/>
              </a:rPr>
              <a:t>以二維圖為例子</a:t>
            </a:r>
            <a:r>
              <a:rPr lang="en-US" altLang="zh-TW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E457D"/>
                  </a:solidFill>
                </a:uFill>
                <a:latin typeface="Arial" panose="020B0604020202020204" pitchFamily="34" charset="0"/>
                <a:ea typeface="+mj-ea"/>
              </a:rPr>
              <a:t>)</a:t>
            </a:r>
          </a:p>
        </p:txBody>
      </p:sp>
      <p:sp>
        <p:nvSpPr>
          <p:cNvPr id="24" name="Oval 77"/>
          <p:cNvSpPr>
            <a:spLocks noChangeArrowheads="1"/>
          </p:cNvSpPr>
          <p:nvPr/>
        </p:nvSpPr>
        <p:spPr bwMode="auto">
          <a:xfrm>
            <a:off x="1245276" y="5479540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微軟正黑體" panose="020B0604030504040204" pitchFamily="34" charset="-120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3530800" y="2350414"/>
            <a:ext cx="4581423" cy="257482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TW" altLang="en-US" sz="1800"/>
          </a:p>
        </p:txBody>
      </p:sp>
      <p:pic>
        <p:nvPicPr>
          <p:cNvPr id="22" name="Picture 2" descr="http://www.yooyoo360.com/photo/2009-1-5/20090114085735607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0648" y="3269251"/>
            <a:ext cx="556040" cy="515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 descr="http://www.yooyoo360.com/photo/2009-1-5/20090114085735607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6824" y="3264205"/>
            <a:ext cx="556040" cy="515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4" descr="http://ec1img.pchome.com.tw/pic/v1/data/item/201311/C/B/A/Y/1/X/CBAY1X-A81465844000_5295b44e10e4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7130" y="4214887"/>
            <a:ext cx="518221" cy="5928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9" name="文字方塊 28"/>
              <p:cNvSpPr txBox="1"/>
              <p:nvPr/>
            </p:nvSpPr>
            <p:spPr>
              <a:xfrm>
                <a:off x="7248129" y="3802332"/>
                <a:ext cx="766002" cy="303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800" i="1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altLang="zh-TW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  <m:sub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altLang="zh-TW" sz="1800">
                          <a:latin typeface="Cambria Math" panose="02040503050406030204" pitchFamily="18" charset="0"/>
                        </a:rPr>
                        <m:t> ,</m:t>
                      </m:r>
                      <m:sSub>
                        <m:sSubPr>
                          <m:ctrlPr>
                            <a:rPr lang="en-US" altLang="zh-TW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  <m:sub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en-US" altLang="zh-TW" sz="18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TW" altLang="en-US" sz="1800" dirty="0">
                  <a:latin typeface="+mn-lt"/>
                </a:endParaRPr>
              </a:p>
            </p:txBody>
          </p:sp>
        </mc:Choice>
        <mc:Fallback xmlns="">
          <p:sp>
            <p:nvSpPr>
              <p:cNvPr id="29" name="文字方塊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48129" y="3802332"/>
                <a:ext cx="766002" cy="303225"/>
              </a:xfrm>
              <a:prstGeom prst="rect">
                <a:avLst/>
              </a:prstGeom>
              <a:blipFill>
                <a:blip r:embed="rId4"/>
                <a:stretch>
                  <a:fillRect l="-10317" t="-2041" r="-11111" b="-28571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加號 29"/>
          <p:cNvSpPr/>
          <p:nvPr/>
        </p:nvSpPr>
        <p:spPr>
          <a:xfrm>
            <a:off x="3530800" y="4681064"/>
            <a:ext cx="422791" cy="422241"/>
          </a:xfrm>
          <a:prstGeom prst="mathPlus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1" name="加號 30"/>
          <p:cNvSpPr/>
          <p:nvPr/>
        </p:nvSpPr>
        <p:spPr>
          <a:xfrm>
            <a:off x="5802058" y="5382704"/>
            <a:ext cx="422791" cy="422241"/>
          </a:xfrm>
          <a:prstGeom prst="mathPlus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32" name="Picture 2" descr="http://www.yooyoo360.com/photo/2009-1-5/20090114085735607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3482" y="3264205"/>
            <a:ext cx="556040" cy="515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3" name="文字方塊 32"/>
              <p:cNvSpPr txBox="1"/>
              <p:nvPr/>
            </p:nvSpPr>
            <p:spPr>
              <a:xfrm>
                <a:off x="4170842" y="3810607"/>
                <a:ext cx="628681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800" i="1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altLang="zh-TW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  <m:sub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TW" sz="1800">
                          <a:latin typeface="Cambria Math" panose="02040503050406030204" pitchFamily="18" charset="0"/>
                        </a:rPr>
                        <m:t> ,</m:t>
                      </m:r>
                      <m:sSub>
                        <m:sSubPr>
                          <m:ctrlPr>
                            <a:rPr lang="en-US" altLang="zh-TW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  <m:sub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altLang="zh-TW" sz="18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TW" altLang="en-US" sz="1800" dirty="0">
                  <a:latin typeface="+mn-lt"/>
                </a:endParaRPr>
              </a:p>
            </p:txBody>
          </p:sp>
        </mc:Choice>
        <mc:Fallback xmlns="">
          <p:sp>
            <p:nvSpPr>
              <p:cNvPr id="33" name="文字方塊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70842" y="3810607"/>
                <a:ext cx="628681" cy="276999"/>
              </a:xfrm>
              <a:prstGeom prst="rect">
                <a:avLst/>
              </a:prstGeom>
              <a:blipFill>
                <a:blip r:embed="rId5"/>
                <a:stretch>
                  <a:fillRect l="-17476" r="-61165" b="-34783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4" name="Picture 2" descr="http://www.yooyoo360.com/photo/2009-1-5/20090114085735607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849" y="2363132"/>
            <a:ext cx="556040" cy="515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5" name="文字方塊 34"/>
              <p:cNvSpPr txBox="1"/>
              <p:nvPr/>
            </p:nvSpPr>
            <p:spPr>
              <a:xfrm>
                <a:off x="6803374" y="2499905"/>
                <a:ext cx="54681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800" i="1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altLang="zh-TW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  <m:sub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altLang="zh-TW" sz="1800">
                          <a:latin typeface="Cambria Math" panose="02040503050406030204" pitchFamily="18" charset="0"/>
                        </a:rPr>
                        <m:t> ,</m:t>
                      </m:r>
                      <m:sSub>
                        <m:sSubPr>
                          <m:ctrlPr>
                            <a:rPr lang="en-US" altLang="zh-TW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  <m:sub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TW" sz="18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TW" altLang="en-US" sz="1800" dirty="0">
                  <a:latin typeface="+mn-lt"/>
                </a:endParaRPr>
              </a:p>
            </p:txBody>
          </p:sp>
        </mc:Choice>
        <mc:Fallback xmlns="">
          <p:sp>
            <p:nvSpPr>
              <p:cNvPr id="35" name="文字方塊 3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3374" y="2499905"/>
                <a:ext cx="546813" cy="276999"/>
              </a:xfrm>
              <a:prstGeom prst="rect">
                <a:avLst/>
              </a:prstGeom>
              <a:blipFill>
                <a:blip r:embed="rId6"/>
                <a:stretch>
                  <a:fillRect l="-20000" r="-62222" b="-34783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6" name="文字方塊 35"/>
          <p:cNvSpPr txBox="1"/>
          <p:nvPr/>
        </p:nvSpPr>
        <p:spPr>
          <a:xfrm>
            <a:off x="3705546" y="3325669"/>
            <a:ext cx="4885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800" dirty="0">
                <a:latin typeface="+mn-lt"/>
                <a:cs typeface="Times New Roman" panose="02020603050405020304" pitchFamily="18" charset="0"/>
              </a:rPr>
              <a:t>(A)</a:t>
            </a:r>
            <a:endParaRPr lang="zh-TW" altLang="en-US" sz="1800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37" name="文字方塊 36"/>
          <p:cNvSpPr txBox="1"/>
          <p:nvPr/>
        </p:nvSpPr>
        <p:spPr>
          <a:xfrm>
            <a:off x="5675726" y="2453738"/>
            <a:ext cx="5266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800" dirty="0">
                <a:latin typeface="+mn-lt"/>
                <a:cs typeface="Times New Roman" panose="02020603050405020304" pitchFamily="18" charset="0"/>
              </a:rPr>
              <a:t>(B)</a:t>
            </a:r>
            <a:endParaRPr lang="zh-TW" altLang="en-US" sz="1800" dirty="0">
              <a:latin typeface="+mn-lt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文字方塊 37"/>
              <p:cNvSpPr txBox="1"/>
              <p:nvPr/>
            </p:nvSpPr>
            <p:spPr>
              <a:xfrm>
                <a:off x="6041154" y="3808861"/>
                <a:ext cx="918941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800" i="1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altLang="zh-TW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  <m:sub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altLang="zh-TW" sz="1800">
                          <a:latin typeface="Cambria Math" panose="02040503050406030204" pitchFamily="18" charset="0"/>
                        </a:rPr>
                        <m:t> ,</m:t>
                      </m:r>
                      <m:sSub>
                        <m:sSubPr>
                          <m:ctrlPr>
                            <a:rPr lang="en-US" altLang="zh-TW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  <m:sub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altLang="zh-TW" sz="18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TW" altLang="en-US" sz="1800" dirty="0">
                  <a:latin typeface="+mn-lt"/>
                </a:endParaRPr>
              </a:p>
            </p:txBody>
          </p:sp>
        </mc:Choice>
        <mc:Fallback xmlns="">
          <p:sp>
            <p:nvSpPr>
              <p:cNvPr id="38" name="文字方塊 3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41154" y="3808861"/>
                <a:ext cx="918941" cy="276999"/>
              </a:xfrm>
              <a:prstGeom prst="rect">
                <a:avLst/>
              </a:prstGeom>
              <a:blipFill>
                <a:blip r:embed="rId7"/>
                <a:stretch>
                  <a:fillRect l="-3974" r="-4636" b="-37778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文字方塊 38"/>
              <p:cNvSpPr txBox="1"/>
              <p:nvPr/>
            </p:nvSpPr>
            <p:spPr>
              <a:xfrm>
                <a:off x="6041154" y="4552048"/>
                <a:ext cx="1062957" cy="3023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800" i="1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altLang="zh-TW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altLang="zh-TW" sz="1800">
                          <a:latin typeface="Cambria Math" panose="02040503050406030204" pitchFamily="18" charset="0"/>
                        </a:rPr>
                        <m:t> ,</m:t>
                      </m:r>
                      <m:sSub>
                        <m:sSubPr>
                          <m:ctrlPr>
                            <a:rPr lang="en-US" altLang="zh-TW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US" altLang="zh-TW" sz="1800" i="1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</m:sSub>
                      <m:r>
                        <a:rPr lang="en-US" altLang="zh-TW" sz="18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TW" altLang="en-US" sz="1800" dirty="0">
                  <a:latin typeface="+mn-lt"/>
                </a:endParaRPr>
              </a:p>
            </p:txBody>
          </p:sp>
        </mc:Choice>
        <mc:Fallback xmlns="">
          <p:sp>
            <p:nvSpPr>
              <p:cNvPr id="39" name="文字方塊 3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41154" y="4552048"/>
                <a:ext cx="1062957" cy="302390"/>
              </a:xfrm>
              <a:prstGeom prst="rect">
                <a:avLst/>
              </a:prstGeom>
              <a:blipFill>
                <a:blip r:embed="rId8"/>
                <a:stretch>
                  <a:fillRect l="-2874" t="-2041" r="-3448" b="-26531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Text Placeholder 3"/>
          <p:cNvSpPr txBox="1">
            <a:spLocks/>
          </p:cNvSpPr>
          <p:nvPr/>
        </p:nvSpPr>
        <p:spPr>
          <a:xfrm>
            <a:off x="1920897" y="5478904"/>
            <a:ext cx="9832820" cy="1046440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首先我們定義虛擬源的位置，假設        為房間原點，給定𝑖</a:t>
            </a:r>
            <a:r>
              <a:rPr kumimoji="0" lang="en-US" altLang="zh-TW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,</a:t>
            </a:r>
            <a:r>
              <a:rPr kumimoji="0" lang="zh-TW" altLang="en-US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𝑗一個整數， </a:t>
            </a:r>
            <a:r>
              <a:rPr kumimoji="0" lang="en-US" altLang="zh-TW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kumimoji="0" lang="zh-TW" altLang="en-US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𝑖</a:t>
            </a:r>
            <a:r>
              <a:rPr kumimoji="0" lang="en-US" altLang="zh-TW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,</a:t>
            </a:r>
            <a:r>
              <a:rPr kumimoji="0" lang="zh-TW" altLang="en-US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𝑗</a:t>
            </a:r>
            <a:r>
              <a:rPr kumimoji="0" lang="en-US" altLang="zh-TW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)= (−1,0)</a:t>
            </a:r>
            <a:r>
              <a:rPr kumimoji="0" lang="zh-TW" altLang="en-US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時</a:t>
            </a: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虛擬源會落在</a:t>
            </a:r>
            <a:r>
              <a:rPr kumimoji="0" lang="en-US" altLang="zh-TW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A)</a:t>
            </a:r>
            <a:r>
              <a:rPr kumimoji="0" lang="zh-TW" altLang="en-US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，依此類推， </a:t>
            </a:r>
            <a:r>
              <a:rPr kumimoji="0" lang="en-US" altLang="zh-TW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kumimoji="0" lang="zh-TW" altLang="en-US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𝑖</a:t>
            </a:r>
            <a:r>
              <a:rPr kumimoji="0" lang="en-US" altLang="zh-TW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,</a:t>
            </a:r>
            <a:r>
              <a:rPr kumimoji="0" lang="zh-TW" altLang="en-US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𝑗</a:t>
            </a:r>
            <a:r>
              <a:rPr kumimoji="0" lang="en-US" altLang="zh-TW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)= (0,1)</a:t>
            </a:r>
            <a:r>
              <a:rPr kumimoji="0" lang="zh-TW" altLang="en-US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時虛擬源落在</a:t>
            </a:r>
            <a:r>
              <a:rPr kumimoji="0" lang="en-US" altLang="zh-TW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B)</a:t>
            </a:r>
            <a:r>
              <a:rPr kumimoji="0" lang="zh-TW" altLang="en-US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，若 </a:t>
            </a:r>
            <a:r>
              <a:rPr kumimoji="0" lang="en-US" altLang="zh-TW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kumimoji="0" lang="zh-TW" altLang="en-US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𝑖</a:t>
            </a:r>
            <a:r>
              <a:rPr kumimoji="0" lang="en-US" altLang="zh-TW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,</a:t>
            </a:r>
            <a:r>
              <a:rPr kumimoji="0" lang="zh-TW" altLang="en-US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𝑗</a:t>
            </a:r>
            <a:r>
              <a:rPr kumimoji="0" lang="en-US" altLang="zh-TW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)= (0,0)</a:t>
            </a:r>
            <a:r>
              <a:rPr kumimoji="0" lang="zh-TW" altLang="en-US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，則為實際聲</a:t>
            </a: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源的位置。</a:t>
            </a:r>
          </a:p>
        </p:txBody>
      </p:sp>
    </p:spTree>
    <p:extLst>
      <p:ext uri="{BB962C8B-B14F-4D97-AF65-F5344CB8AC3E}">
        <p14:creationId xmlns:p14="http://schemas.microsoft.com/office/powerpoint/2010/main" val="2552569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>
                <a:latin typeface="+mj-lt"/>
                <a:cs typeface="Times New Roman" panose="02020603050405020304" pitchFamily="18" charset="0"/>
              </a:rPr>
              <a:t>Room Impulse Response Generator (5/7)</a:t>
            </a:r>
            <a:endParaRPr lang="zh-TW" altLang="en-US" dirty="0">
              <a:latin typeface="+mj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字方塊 5"/>
              <p:cNvSpPr txBox="1"/>
              <p:nvPr/>
            </p:nvSpPr>
            <p:spPr>
              <a:xfrm>
                <a:off x="2855640" y="2898856"/>
                <a:ext cx="3872727" cy="70314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TW" sz="2000" b="1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𝒗</m:t>
                          </m:r>
                        </m:e>
                        <m:sub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</m:sSub>
                      <m:r>
                        <a:rPr lang="en-US" altLang="zh-TW" sz="2000" b="1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(−</m:t>
                          </m:r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  <m:sup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</m:sup>
                      </m:sSup>
                      <m:sSub>
                        <m:sSubPr>
                          <m:ctrlP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𝑺</m:t>
                          </m:r>
                        </m:e>
                        <m:sub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sub>
                      </m:sSub>
                      <m:r>
                        <a:rPr lang="en-US" altLang="zh-TW" sz="2000" b="1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(−</m:t>
                                  </m:r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𝟏</m:t>
                                  </m:r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  <m:sup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</m:den>
                          </m:f>
                        </m:e>
                      </m:d>
                      <m:sSub>
                        <m:sSubPr>
                          <m:ctrlP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𝑹</m:t>
                          </m:r>
                        </m:e>
                        <m:sub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𝑳</m:t>
                          </m:r>
                        </m:sub>
                      </m:sSub>
                    </m:oMath>
                  </m:oMathPara>
                </a14:m>
                <a:endParaRPr lang="zh-TW" altLang="en-US" sz="2000" b="1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6" name="文字方塊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5640" y="2898856"/>
                <a:ext cx="3872727" cy="703141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字方塊 6"/>
              <p:cNvSpPr txBox="1"/>
              <p:nvPr/>
            </p:nvSpPr>
            <p:spPr>
              <a:xfrm>
                <a:off x="2842765" y="3867285"/>
                <a:ext cx="3949222" cy="70525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TW" sz="2000" b="1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𝒗</m:t>
                          </m:r>
                        </m:e>
                        <m:sub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</m:sSub>
                      <m:r>
                        <a:rPr lang="en-US" altLang="zh-TW" sz="2000" b="1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(−</m:t>
                          </m:r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  <m:sup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𝒋</m:t>
                          </m:r>
                        </m:sup>
                      </m:sSup>
                      <m:sSub>
                        <m:sSubPr>
                          <m:ctrlP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𝑺</m:t>
                          </m:r>
                        </m:e>
                        <m:sub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𝒚</m:t>
                          </m:r>
                        </m:sub>
                      </m:sSub>
                      <m:r>
                        <a:rPr lang="en-US" altLang="zh-TW" sz="2000" b="1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𝒋</m:t>
                          </m:r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(−</m:t>
                                  </m:r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𝟏</m:t>
                                  </m:r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  <m:sup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𝒋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</m:den>
                          </m:f>
                        </m:e>
                      </m:d>
                      <m:sSub>
                        <m:sSubPr>
                          <m:ctrlP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𝑹</m:t>
                          </m:r>
                        </m:e>
                        <m:sub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𝑾</m:t>
                          </m:r>
                        </m:sub>
                      </m:sSub>
                    </m:oMath>
                  </m:oMathPara>
                </a14:m>
                <a:endParaRPr lang="zh-TW" altLang="en-US" sz="2000" b="1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7" name="文字方塊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2765" y="3867285"/>
                <a:ext cx="3949222" cy="70525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字方塊 10"/>
              <p:cNvSpPr txBox="1"/>
              <p:nvPr/>
            </p:nvSpPr>
            <p:spPr>
              <a:xfrm>
                <a:off x="2855640" y="5846368"/>
                <a:ext cx="3753720" cy="6263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TW" sz="2000" b="1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e>
                        <m:sub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𝒋</m:t>
                          </m:r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sub>
                      </m:sSub>
                      <m:r>
                        <a:rPr lang="en-US" altLang="zh-TW" sz="2000" b="1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sSup>
                            <m:sSupPr>
                              <m:ctrlP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𝒗</m:t>
                                  </m:r>
                                </m:e>
                                <m:sub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</m:sub>
                              </m:sSub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𝑴</m:t>
                                  </m:r>
                                </m:e>
                                <m:sub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𝒙</m:t>
                                  </m:r>
                                </m:sub>
                              </m:sSub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</m:sup>
                          </m:sSup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𝒗</m:t>
                                  </m:r>
                                </m:e>
                                <m:sub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𝒋</m:t>
                                  </m:r>
                                </m:sub>
                              </m:sSub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𝑴</m:t>
                                  </m:r>
                                </m:e>
                                <m:sub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𝒚</m:t>
                                  </m:r>
                                </m:sub>
                              </m:sSub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</m:sup>
                          </m:sSup>
                        </m:e>
                      </m:rad>
                    </m:oMath>
                  </m:oMathPara>
                </a14:m>
                <a:endParaRPr lang="zh-TW" altLang="en-US" sz="2000" b="1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11" name="文字方塊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5640" y="5846368"/>
                <a:ext cx="3753720" cy="62632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958478" y="1691516"/>
            <a:ext cx="2401218" cy="3693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algn="l">
              <a:spcBef>
                <a:spcPts val="700"/>
              </a:spcBef>
              <a:buClr>
                <a:srgbClr val="DD8047"/>
              </a:buClr>
              <a:buSzPct val="60000"/>
              <a:defRPr/>
            </a:pPr>
            <a:r>
              <a:rPr lang="zh-TW" altLang="en-US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E457D"/>
                  </a:solidFill>
                </a:uFill>
                <a:latin typeface="Arial" panose="020B0604020202020204" pitchFamily="34" charset="0"/>
                <a:ea typeface="+mj-ea"/>
              </a:rPr>
              <a:t>定義虛擬源座標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>
          <a:xfrm>
            <a:off x="1956302" y="2424679"/>
            <a:ext cx="5807680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>
              <a:spcBef>
                <a:spcPct val="20000"/>
              </a:spcBef>
              <a:defRPr/>
            </a:pPr>
            <a:r>
              <a:rPr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虛擬源</a:t>
            </a:r>
            <a:r>
              <a:rPr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𝑣</a:t>
            </a:r>
            <a:r>
              <a:rPr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_</a:t>
            </a:r>
            <a:r>
              <a:rPr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𝑖  </a:t>
            </a:r>
            <a:r>
              <a:rPr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,</a:t>
            </a:r>
            <a:r>
              <a:rPr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𝑣</a:t>
            </a:r>
            <a:r>
              <a:rPr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_</a:t>
            </a:r>
            <a:r>
              <a:rPr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𝑗</a:t>
            </a:r>
            <a:r>
              <a:rPr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) </a:t>
            </a:r>
            <a:r>
              <a:rPr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的座標可由下列兩個方程式來定義</a:t>
            </a:r>
          </a:p>
        </p:txBody>
      </p:sp>
      <p:sp>
        <p:nvSpPr>
          <p:cNvPr id="14" name="Text Placeholder 3"/>
          <p:cNvSpPr txBox="1">
            <a:spLocks/>
          </p:cNvSpPr>
          <p:nvPr/>
        </p:nvSpPr>
        <p:spPr>
          <a:xfrm>
            <a:off x="1956302" y="4901679"/>
            <a:ext cx="9828330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>
              <a:spcBef>
                <a:spcPct val="20000"/>
              </a:spcBef>
              <a:defRPr/>
            </a:pPr>
            <a:r>
              <a:rPr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到這邊我們已經成功定義了虛擬源的座標，再來我們只要利用畢氏定理即可得到虛擬源與麥克風之間的距離。</a:t>
            </a:r>
          </a:p>
        </p:txBody>
      </p:sp>
      <p:sp>
        <p:nvSpPr>
          <p:cNvPr id="15" name="Oval 77"/>
          <p:cNvSpPr>
            <a:spLocks noChangeArrowheads="1"/>
          </p:cNvSpPr>
          <p:nvPr/>
        </p:nvSpPr>
        <p:spPr bwMode="auto">
          <a:xfrm>
            <a:off x="1280681" y="2429785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en-US" sz="2000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1</a:t>
            </a:r>
          </a:p>
        </p:txBody>
      </p:sp>
      <p:sp>
        <p:nvSpPr>
          <p:cNvPr id="16" name="Oval 77"/>
          <p:cNvSpPr>
            <a:spLocks noChangeArrowheads="1"/>
          </p:cNvSpPr>
          <p:nvPr/>
        </p:nvSpPr>
        <p:spPr bwMode="auto">
          <a:xfrm>
            <a:off x="1280681" y="4897451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en-US" sz="2000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280597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b="1" dirty="0">
                <a:solidFill>
                  <a:srgbClr val="0E457D"/>
                </a:solidFill>
              </a:rPr>
              <a:t>課程規範 </a:t>
            </a:r>
            <a:r>
              <a:rPr lang="en-US" altLang="zh-TW" b="1" dirty="0">
                <a:solidFill>
                  <a:srgbClr val="0E457D"/>
                </a:solidFill>
              </a:rPr>
              <a:t>(2/2)</a:t>
            </a:r>
            <a:endParaRPr lang="zh-TW" altLang="en-US" b="1" dirty="0">
              <a:solidFill>
                <a:srgbClr val="0E457D"/>
              </a:solidFill>
            </a:endParaRP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C14BE2B-79B3-429B-84A3-28A13968A529}" type="slidenum">
              <a:rPr lang="zh-TW" altLang="en-US" smtClean="0"/>
              <a:pPr/>
              <a:t>3</a:t>
            </a:fld>
            <a:endParaRPr lang="zh-TW" altLang="en-US"/>
          </a:p>
        </p:txBody>
      </p:sp>
      <p:sp>
        <p:nvSpPr>
          <p:cNvPr id="20" name="文本框 52"/>
          <p:cNvSpPr txBox="1"/>
          <p:nvPr/>
        </p:nvSpPr>
        <p:spPr>
          <a:xfrm>
            <a:off x="1775520" y="2001195"/>
            <a:ext cx="9846537" cy="2246607"/>
          </a:xfrm>
          <a:prstGeom prst="rect">
            <a:avLst/>
          </a:prstGeom>
          <a:noFill/>
        </p:spPr>
        <p:txBody>
          <a:bodyPr wrap="square" lIns="91294" tIns="45640" rIns="91294" bIns="45640" rtlCol="0">
            <a:spAutoFit/>
          </a:bodyPr>
          <a:lstStyle/>
          <a:p>
            <a:pPr marL="357188" indent="-265113" defTabSz="914173">
              <a:buFont typeface="+mj-lt"/>
              <a:buAutoNum type="arabicPeriod"/>
            </a:pPr>
            <a:r>
              <a:rPr lang="zh-TW" altLang="en-US" sz="2000" kern="0" dirty="0">
                <a:latin typeface="Calibri" panose="020F0502020204030204" pitchFamily="34" charset="0"/>
              </a:rPr>
              <a:t>專題</a:t>
            </a:r>
            <a:r>
              <a:rPr lang="en-US" altLang="zh-TW" sz="2000" kern="0" dirty="0">
                <a:latin typeface="Calibri" panose="020F0502020204030204" pitchFamily="34" charset="0"/>
              </a:rPr>
              <a:t>1</a:t>
            </a:r>
            <a:r>
              <a:rPr lang="zh-TW" altLang="en-US" sz="2000" kern="0" dirty="0">
                <a:latin typeface="Calibri" panose="020F0502020204030204" pitchFamily="34" charset="0"/>
              </a:rPr>
              <a:t>：當次作業成績打</a:t>
            </a:r>
            <a:r>
              <a:rPr lang="en-US" altLang="zh-TW" sz="2000" kern="0" dirty="0">
                <a:latin typeface="Calibri" panose="020F0502020204030204" pitchFamily="34" charset="0"/>
              </a:rPr>
              <a:t>9</a:t>
            </a:r>
            <a:r>
              <a:rPr lang="zh-TW" altLang="en-US" sz="2000" kern="0" dirty="0">
                <a:latin typeface="Calibri" panose="020F0502020204030204" pitchFamily="34" charset="0"/>
              </a:rPr>
              <a:t>折</a:t>
            </a:r>
            <a:endParaRPr lang="en-US" altLang="zh-TW" sz="2000" kern="0" dirty="0">
              <a:latin typeface="Calibri" panose="020F0502020204030204" pitchFamily="34" charset="0"/>
            </a:endParaRPr>
          </a:p>
          <a:p>
            <a:pPr marL="814388" lvl="1" indent="-265113" defTabSz="914173">
              <a:buFont typeface="+mj-lt"/>
              <a:buAutoNum type="arabicPeriod"/>
            </a:pPr>
            <a:r>
              <a:rPr lang="en-US" altLang="zh-TW" sz="2000" kern="0" dirty="0">
                <a:latin typeface="Calibri" panose="020F0502020204030204" pitchFamily="34" charset="0"/>
              </a:rPr>
              <a:t>A</a:t>
            </a:r>
            <a:r>
              <a:rPr lang="zh-TW" altLang="en-US" sz="2000" kern="0" dirty="0">
                <a:latin typeface="Calibri" panose="020F0502020204030204" pitchFamily="34" charset="0"/>
              </a:rPr>
              <a:t>班補交期限為 </a:t>
            </a:r>
            <a:r>
              <a:rPr lang="en-US" altLang="zh-TW" sz="2000" kern="0" dirty="0">
                <a:latin typeface="Calibri" panose="020F0502020204030204" pitchFamily="34" charset="0"/>
              </a:rPr>
              <a:t>12/19 17:00</a:t>
            </a:r>
            <a:r>
              <a:rPr lang="zh-TW" altLang="en-US" sz="2000" kern="0" dirty="0">
                <a:latin typeface="Calibri" panose="020F0502020204030204" pitchFamily="34" charset="0"/>
              </a:rPr>
              <a:t>前</a:t>
            </a:r>
            <a:endParaRPr lang="en-US" altLang="zh-TW" sz="2000" kern="0" dirty="0">
              <a:latin typeface="Calibri" panose="020F0502020204030204" pitchFamily="34" charset="0"/>
            </a:endParaRPr>
          </a:p>
          <a:p>
            <a:pPr marL="814388" lvl="1" indent="-265113" defTabSz="914173">
              <a:buFont typeface="+mj-lt"/>
              <a:buAutoNum type="arabicPeriod"/>
            </a:pPr>
            <a:r>
              <a:rPr lang="en-US" altLang="zh-TW" sz="2000" kern="0" dirty="0">
                <a:latin typeface="Calibri" panose="020F0502020204030204" pitchFamily="34" charset="0"/>
              </a:rPr>
              <a:t>B</a:t>
            </a:r>
            <a:r>
              <a:rPr lang="zh-TW" altLang="en-US" sz="2000" kern="0" dirty="0">
                <a:latin typeface="Calibri" panose="020F0502020204030204" pitchFamily="34" charset="0"/>
              </a:rPr>
              <a:t>班補交期限為 </a:t>
            </a:r>
            <a:r>
              <a:rPr lang="en-US" altLang="zh-TW" sz="2000" kern="0" dirty="0">
                <a:latin typeface="Calibri" panose="020F0502020204030204" pitchFamily="34" charset="0"/>
              </a:rPr>
              <a:t>12/19 17:00</a:t>
            </a:r>
            <a:r>
              <a:rPr lang="zh-TW" altLang="en-US" sz="2000" kern="0" dirty="0">
                <a:latin typeface="Calibri" panose="020F0502020204030204" pitchFamily="34" charset="0"/>
              </a:rPr>
              <a:t>前</a:t>
            </a:r>
            <a:endParaRPr lang="en-US" altLang="zh-TW" sz="2000" kern="0" dirty="0">
              <a:latin typeface="Calibri" panose="020F0502020204030204" pitchFamily="34" charset="0"/>
            </a:endParaRPr>
          </a:p>
          <a:p>
            <a:pPr marL="357188" indent="-265113" defTabSz="914173">
              <a:buFont typeface="+mj-lt"/>
              <a:buAutoNum type="arabicPeriod"/>
            </a:pPr>
            <a:r>
              <a:rPr lang="zh-TW" altLang="en-US" sz="2000" kern="0" dirty="0">
                <a:latin typeface="Calibri" panose="020F0502020204030204" pitchFamily="34" charset="0"/>
              </a:rPr>
              <a:t>專題</a:t>
            </a:r>
            <a:r>
              <a:rPr lang="en-US" altLang="zh-TW" sz="2000" kern="0" dirty="0">
                <a:latin typeface="Calibri" panose="020F0502020204030204" pitchFamily="34" charset="0"/>
              </a:rPr>
              <a:t>2</a:t>
            </a:r>
            <a:r>
              <a:rPr lang="zh-TW" altLang="en-US" sz="2000" kern="0" dirty="0">
                <a:latin typeface="Calibri" panose="020F0502020204030204" pitchFamily="34" charset="0"/>
              </a:rPr>
              <a:t>：當次作業成績打</a:t>
            </a:r>
            <a:r>
              <a:rPr lang="en-US" altLang="zh-TW" sz="2000" kern="0" dirty="0">
                <a:latin typeface="Calibri" panose="020F0502020204030204" pitchFamily="34" charset="0"/>
              </a:rPr>
              <a:t>9</a:t>
            </a:r>
            <a:r>
              <a:rPr lang="zh-TW" altLang="en-US" sz="2000" kern="0" dirty="0">
                <a:latin typeface="Calibri" panose="020F0502020204030204" pitchFamily="34" charset="0"/>
              </a:rPr>
              <a:t>折 </a:t>
            </a:r>
            <a:endParaRPr lang="en-US" altLang="zh-TW" sz="2000" kern="0" dirty="0">
              <a:latin typeface="Calibri" panose="020F0502020204030204" pitchFamily="34" charset="0"/>
            </a:endParaRPr>
          </a:p>
          <a:p>
            <a:pPr marL="814388" lvl="1" indent="-265113" defTabSz="914173">
              <a:buFont typeface="+mj-lt"/>
              <a:buAutoNum type="arabicPeriod"/>
            </a:pPr>
            <a:r>
              <a:rPr lang="en-US" altLang="zh-TW" sz="2000" kern="0" dirty="0">
                <a:latin typeface="Calibri" panose="020F0502020204030204" pitchFamily="34" charset="0"/>
              </a:rPr>
              <a:t>A</a:t>
            </a:r>
            <a:r>
              <a:rPr lang="zh-TW" altLang="en-US" sz="2000" kern="0" dirty="0">
                <a:latin typeface="Calibri" panose="020F0502020204030204" pitchFamily="34" charset="0"/>
              </a:rPr>
              <a:t>班補交期限為 </a:t>
            </a:r>
            <a:r>
              <a:rPr lang="en-US" altLang="zh-TW" sz="2000" kern="0" dirty="0">
                <a:latin typeface="Calibri" panose="020F0502020204030204" pitchFamily="34" charset="0"/>
              </a:rPr>
              <a:t>1/13 </a:t>
            </a:r>
            <a:r>
              <a:rPr lang="zh-TW" altLang="en-US" sz="2000" kern="0" dirty="0">
                <a:latin typeface="Calibri" panose="020F0502020204030204" pitchFamily="34" charset="0"/>
              </a:rPr>
              <a:t> </a:t>
            </a:r>
            <a:r>
              <a:rPr lang="en-US" altLang="zh-TW" sz="2000" kern="0" dirty="0">
                <a:latin typeface="Calibri" panose="020F0502020204030204" pitchFamily="34" charset="0"/>
              </a:rPr>
              <a:t>17:00</a:t>
            </a:r>
            <a:r>
              <a:rPr lang="zh-TW" altLang="en-US" sz="2000" kern="0" dirty="0">
                <a:latin typeface="Calibri" panose="020F0502020204030204" pitchFamily="34" charset="0"/>
              </a:rPr>
              <a:t>前</a:t>
            </a:r>
            <a:endParaRPr lang="en-US" altLang="zh-TW" sz="2000" kern="0" dirty="0">
              <a:latin typeface="Calibri" panose="020F0502020204030204" pitchFamily="34" charset="0"/>
            </a:endParaRPr>
          </a:p>
          <a:p>
            <a:pPr marL="814388" lvl="1" indent="-265113" defTabSz="914173">
              <a:buFont typeface="+mj-lt"/>
              <a:buAutoNum type="arabicPeriod"/>
            </a:pPr>
            <a:r>
              <a:rPr lang="en-US" altLang="zh-TW" sz="2000" kern="0" dirty="0">
                <a:latin typeface="Calibri" panose="020F0502020204030204" pitchFamily="34" charset="0"/>
              </a:rPr>
              <a:t>B</a:t>
            </a:r>
            <a:r>
              <a:rPr lang="zh-TW" altLang="en-US" sz="2000" kern="0" dirty="0">
                <a:latin typeface="Calibri" panose="020F0502020204030204" pitchFamily="34" charset="0"/>
              </a:rPr>
              <a:t>班補交期限為 </a:t>
            </a:r>
            <a:r>
              <a:rPr lang="en-US" altLang="zh-TW" sz="2000" kern="0" dirty="0">
                <a:latin typeface="Calibri" panose="020F0502020204030204" pitchFamily="34" charset="0"/>
              </a:rPr>
              <a:t>1/13 </a:t>
            </a:r>
            <a:r>
              <a:rPr lang="zh-TW" altLang="en-US" sz="2000" kern="0" dirty="0">
                <a:latin typeface="Calibri" panose="020F0502020204030204" pitchFamily="34" charset="0"/>
              </a:rPr>
              <a:t> </a:t>
            </a:r>
            <a:r>
              <a:rPr lang="en-US" altLang="zh-TW" sz="2000" kern="0" dirty="0">
                <a:latin typeface="Calibri" panose="020F0502020204030204" pitchFamily="34" charset="0"/>
              </a:rPr>
              <a:t>17:00</a:t>
            </a:r>
            <a:r>
              <a:rPr lang="zh-TW" altLang="en-US" sz="2000" kern="0" dirty="0">
                <a:latin typeface="Calibri" panose="020F0502020204030204" pitchFamily="34" charset="0"/>
              </a:rPr>
              <a:t>前</a:t>
            </a:r>
            <a:endParaRPr lang="en-US" altLang="zh-TW" sz="2000" kern="0" dirty="0">
              <a:latin typeface="Calibri" panose="020F0502020204030204" pitchFamily="34" charset="0"/>
            </a:endParaRPr>
          </a:p>
          <a:p>
            <a:pPr marL="357188" indent="-265113" defTabSz="914173">
              <a:buFont typeface="+mj-lt"/>
              <a:buAutoNum type="arabicPeriod"/>
            </a:pPr>
            <a:r>
              <a:rPr lang="zh-TW" altLang="en-US" sz="2000" kern="0" dirty="0">
                <a:latin typeface="Calibri" panose="020F0502020204030204" pitchFamily="34" charset="0"/>
              </a:rPr>
              <a:t>超過補交期限不再受理補交。</a:t>
            </a:r>
            <a:endParaRPr lang="en-US" altLang="zh-CN" sz="2000" kern="0" dirty="0">
              <a:latin typeface="Calibri" panose="020F0502020204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782376" y="1603422"/>
            <a:ext cx="2492695" cy="399948"/>
          </a:xfrm>
          <a:prstGeom prst="rect">
            <a:avLst/>
          </a:prstGeom>
          <a:effectLst/>
        </p:spPr>
        <p:txBody>
          <a:bodyPr wrap="none" lIns="91294" tIns="45640" rIns="91294" bIns="45640">
            <a:spAutoFit/>
          </a:bodyPr>
          <a:lstStyle/>
          <a:p>
            <a:pPr defTabSz="914173"/>
            <a:r>
              <a:rPr lang="zh-TW" altLang="en-US" sz="2000" b="1" kern="0" dirty="0">
                <a:solidFill>
                  <a:srgbClr val="0E457D"/>
                </a:solidFill>
                <a:latin typeface="Calibri" panose="020F0502020204030204" pitchFamily="34" charset="0"/>
              </a:rPr>
              <a:t>請假者補交作業規定</a:t>
            </a:r>
            <a:endParaRPr lang="zh-CN" altLang="en-US" sz="2000" b="1" kern="0" dirty="0">
              <a:solidFill>
                <a:srgbClr val="0E457D"/>
              </a:solidFill>
              <a:latin typeface="Calibri" panose="020F0502020204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22" name="文本框 56"/>
          <p:cNvSpPr txBox="1"/>
          <p:nvPr/>
        </p:nvSpPr>
        <p:spPr>
          <a:xfrm>
            <a:off x="1804555" y="5157192"/>
            <a:ext cx="9846537" cy="1015501"/>
          </a:xfrm>
          <a:prstGeom prst="rect">
            <a:avLst/>
          </a:prstGeom>
          <a:noFill/>
        </p:spPr>
        <p:txBody>
          <a:bodyPr wrap="square" lIns="91294" tIns="45640" rIns="91294" bIns="45640" rtlCol="0">
            <a:spAutoFit/>
          </a:bodyPr>
          <a:lstStyle/>
          <a:p>
            <a:pPr marL="357188" indent="-265113" defTabSz="914173">
              <a:buFont typeface="+mj-lt"/>
              <a:buAutoNum type="arabicPeriod"/>
            </a:pPr>
            <a:r>
              <a:rPr lang="zh-TW" altLang="en-US" sz="2000" kern="0" dirty="0">
                <a:latin typeface="Calibri" panose="020F0502020204030204" pitchFamily="34" charset="0"/>
              </a:rPr>
              <a:t>教室內禁止飲食，飲料及食品請勿攜入。</a:t>
            </a:r>
            <a:endParaRPr lang="en-US" altLang="zh-TW" sz="2000" kern="0" dirty="0">
              <a:latin typeface="Calibri" panose="020F0502020204030204" pitchFamily="34" charset="0"/>
            </a:endParaRPr>
          </a:p>
          <a:p>
            <a:pPr marL="357188" indent="-265113" defTabSz="914173">
              <a:buFont typeface="+mj-lt"/>
              <a:buAutoNum type="arabicPeriod"/>
            </a:pPr>
            <a:r>
              <a:rPr lang="zh-TW" altLang="en-US" sz="2000" kern="0" dirty="0">
                <a:latin typeface="Calibri" panose="020F0502020204030204" pitchFamily="34" charset="0"/>
              </a:rPr>
              <a:t>離開時請將桌面清理乾淨，並將垃圾攜出。</a:t>
            </a:r>
          </a:p>
          <a:p>
            <a:pPr marL="357188" indent="-265113" defTabSz="914173">
              <a:buFont typeface="+mj-lt"/>
              <a:buAutoNum type="arabicPeriod"/>
            </a:pPr>
            <a:r>
              <a:rPr lang="zh-TW" altLang="en-US" sz="2000" kern="0" dirty="0">
                <a:latin typeface="Calibri" panose="020F0502020204030204" pitchFamily="34" charset="0"/>
              </a:rPr>
              <a:t>請勿隨意拔插網路線或電源線，若電腦出現問題請向助教反映。</a:t>
            </a:r>
          </a:p>
        </p:txBody>
      </p:sp>
      <p:sp>
        <p:nvSpPr>
          <p:cNvPr id="23" name="矩形 22"/>
          <p:cNvSpPr/>
          <p:nvPr/>
        </p:nvSpPr>
        <p:spPr>
          <a:xfrm>
            <a:off x="811411" y="4787534"/>
            <a:ext cx="1723254" cy="399948"/>
          </a:xfrm>
          <a:prstGeom prst="rect">
            <a:avLst/>
          </a:prstGeom>
          <a:effectLst/>
        </p:spPr>
        <p:txBody>
          <a:bodyPr wrap="none" lIns="91294" tIns="45640" rIns="91294" bIns="45640">
            <a:spAutoFit/>
          </a:bodyPr>
          <a:lstStyle/>
          <a:p>
            <a:pPr defTabSz="914173"/>
            <a:r>
              <a:rPr lang="zh-TW" altLang="en-US" sz="2000" b="1" kern="0" dirty="0">
                <a:solidFill>
                  <a:srgbClr val="0E457D"/>
                </a:solidFill>
                <a:latin typeface="Calibri" panose="020F0502020204030204" pitchFamily="34" charset="0"/>
              </a:rPr>
              <a:t>其他注意事項</a:t>
            </a:r>
          </a:p>
        </p:txBody>
      </p:sp>
      <p:grpSp>
        <p:nvGrpSpPr>
          <p:cNvPr id="42" name="群組 41"/>
          <p:cNvGrpSpPr/>
          <p:nvPr/>
        </p:nvGrpSpPr>
        <p:grpSpPr>
          <a:xfrm>
            <a:off x="1048396" y="5328342"/>
            <a:ext cx="684151" cy="603132"/>
            <a:chOff x="1019361" y="4343867"/>
            <a:chExt cx="684151" cy="603132"/>
          </a:xfrm>
        </p:grpSpPr>
        <p:sp>
          <p:nvSpPr>
            <p:cNvPr id="9" name="圆角矩形 44"/>
            <p:cNvSpPr/>
            <p:nvPr/>
          </p:nvSpPr>
          <p:spPr>
            <a:xfrm>
              <a:off x="1019361" y="4343867"/>
              <a:ext cx="684151" cy="603132"/>
            </a:xfrm>
            <a:prstGeom prst="roundRect">
              <a:avLst/>
            </a:prstGeom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A5A5A5">
                    <a:lumMod val="45000"/>
                    <a:lumOff val="55000"/>
                  </a:srgbClr>
                </a:gs>
                <a:gs pos="83000">
                  <a:srgbClr val="A5A5A5">
                    <a:lumMod val="45000"/>
                    <a:lumOff val="55000"/>
                  </a:srgbClr>
                </a:gs>
                <a:gs pos="100000">
                  <a:srgbClr val="A5A5A5">
                    <a:lumMod val="30000"/>
                    <a:lumOff val="70000"/>
                  </a:srgbClr>
                </a:gs>
              </a:gsLst>
              <a:lin ang="18900000" scaled="1"/>
              <a:tileRect/>
            </a:gradFill>
            <a:ln w="12700" cap="flat" cmpd="sng" algn="ctr">
              <a:gradFill flip="none" rotWithShape="1">
                <a:gsLst>
                  <a:gs pos="0">
                    <a:srgbClr val="A5A5A5">
                      <a:lumMod val="5000"/>
                      <a:lumOff val="95000"/>
                    </a:srgbClr>
                  </a:gs>
                  <a:gs pos="74000">
                    <a:srgbClr val="A5A5A5">
                      <a:lumMod val="45000"/>
                      <a:lumOff val="55000"/>
                    </a:srgbClr>
                  </a:gs>
                  <a:gs pos="83000">
                    <a:srgbClr val="A5A5A5">
                      <a:lumMod val="45000"/>
                      <a:lumOff val="55000"/>
                    </a:srgbClr>
                  </a:gs>
                  <a:gs pos="100000">
                    <a:srgbClr val="A5A5A5">
                      <a:lumMod val="30000"/>
                      <a:lumOff val="70000"/>
                    </a:srgbClr>
                  </a:gs>
                </a:gsLst>
                <a:lin ang="8100000" scaled="1"/>
                <a:tileRect/>
              </a:gradFill>
              <a:prstDash val="solid"/>
              <a:miter lim="800000"/>
            </a:ln>
            <a:effectLst>
              <a:outerShdw blurRad="127000" dist="50800" dir="8100000" algn="tr" rotWithShape="0">
                <a:sysClr val="window" lastClr="FFFFFF">
                  <a:lumMod val="50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algn="ctr" defTabSz="914173"/>
              <a:endParaRPr lang="zh-CN" altLang="en-US" sz="2000" kern="0">
                <a:solidFill>
                  <a:sysClr val="window" lastClr="FFFFFF"/>
                </a:solidFill>
                <a:latin typeface="Calibri" panose="020F0502020204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30" name="Freeform 452"/>
            <p:cNvSpPr/>
            <p:nvPr/>
          </p:nvSpPr>
          <p:spPr>
            <a:xfrm>
              <a:off x="1145082" y="4429734"/>
              <a:ext cx="432708" cy="432486"/>
            </a:xfrm>
            <a:custGeom>
              <a:avLst/>
              <a:gdLst/>
              <a:ahLst/>
              <a:cxnLst/>
              <a:rect l="l" t="t" r="r" b="b"/>
              <a:pathLst>
                <a:path w="432708" h="432707">
                  <a:moveTo>
                    <a:pt x="216354" y="0"/>
                  </a:moveTo>
                  <a:cubicBezTo>
                    <a:pt x="255606" y="0"/>
                    <a:pt x="291805" y="9672"/>
                    <a:pt x="324953" y="29016"/>
                  </a:cubicBezTo>
                  <a:cubicBezTo>
                    <a:pt x="358101" y="48360"/>
                    <a:pt x="384347" y="74606"/>
                    <a:pt x="403691" y="107754"/>
                  </a:cubicBezTo>
                  <a:cubicBezTo>
                    <a:pt x="423036" y="140902"/>
                    <a:pt x="432708" y="177102"/>
                    <a:pt x="432708" y="216353"/>
                  </a:cubicBezTo>
                  <a:cubicBezTo>
                    <a:pt x="432708" y="255605"/>
                    <a:pt x="423036" y="291805"/>
                    <a:pt x="403691" y="324953"/>
                  </a:cubicBezTo>
                  <a:cubicBezTo>
                    <a:pt x="384347" y="358101"/>
                    <a:pt x="358101" y="384347"/>
                    <a:pt x="324953" y="403691"/>
                  </a:cubicBezTo>
                  <a:cubicBezTo>
                    <a:pt x="291805" y="423035"/>
                    <a:pt x="255606" y="432707"/>
                    <a:pt x="216354" y="432707"/>
                  </a:cubicBezTo>
                  <a:cubicBezTo>
                    <a:pt x="177102" y="432707"/>
                    <a:pt x="140902" y="423035"/>
                    <a:pt x="107755" y="403691"/>
                  </a:cubicBezTo>
                  <a:cubicBezTo>
                    <a:pt x="74607" y="384347"/>
                    <a:pt x="48361" y="358101"/>
                    <a:pt x="29017" y="324953"/>
                  </a:cubicBezTo>
                  <a:cubicBezTo>
                    <a:pt x="9672" y="291805"/>
                    <a:pt x="0" y="255605"/>
                    <a:pt x="0" y="216353"/>
                  </a:cubicBezTo>
                  <a:cubicBezTo>
                    <a:pt x="0" y="177102"/>
                    <a:pt x="9672" y="140902"/>
                    <a:pt x="29017" y="107754"/>
                  </a:cubicBezTo>
                  <a:cubicBezTo>
                    <a:pt x="48361" y="74606"/>
                    <a:pt x="74607" y="48360"/>
                    <a:pt x="107755" y="29016"/>
                  </a:cubicBezTo>
                  <a:cubicBezTo>
                    <a:pt x="140902" y="9672"/>
                    <a:pt x="177102" y="0"/>
                    <a:pt x="216354" y="0"/>
                  </a:cubicBezTo>
                  <a:close/>
                  <a:moveTo>
                    <a:pt x="185366" y="72118"/>
                  </a:moveTo>
                  <a:cubicBezTo>
                    <a:pt x="182736" y="72118"/>
                    <a:pt x="180483" y="72869"/>
                    <a:pt x="178605" y="74371"/>
                  </a:cubicBezTo>
                  <a:cubicBezTo>
                    <a:pt x="176727" y="75498"/>
                    <a:pt x="175788" y="77188"/>
                    <a:pt x="175788" y="79442"/>
                  </a:cubicBezTo>
                  <a:lnTo>
                    <a:pt x="180577" y="254384"/>
                  </a:lnTo>
                  <a:cubicBezTo>
                    <a:pt x="180577" y="256262"/>
                    <a:pt x="181516" y="257906"/>
                    <a:pt x="183394" y="259314"/>
                  </a:cubicBezTo>
                  <a:cubicBezTo>
                    <a:pt x="185272" y="260723"/>
                    <a:pt x="187525" y="261427"/>
                    <a:pt x="190155" y="261427"/>
                  </a:cubicBezTo>
                  <a:lnTo>
                    <a:pt x="242271" y="261427"/>
                  </a:lnTo>
                  <a:cubicBezTo>
                    <a:pt x="244901" y="261427"/>
                    <a:pt x="247107" y="260723"/>
                    <a:pt x="248891" y="259314"/>
                  </a:cubicBezTo>
                  <a:cubicBezTo>
                    <a:pt x="250676" y="257906"/>
                    <a:pt x="251662" y="256262"/>
                    <a:pt x="251849" y="254384"/>
                  </a:cubicBezTo>
                  <a:lnTo>
                    <a:pt x="256920" y="79442"/>
                  </a:lnTo>
                  <a:cubicBezTo>
                    <a:pt x="256920" y="77188"/>
                    <a:pt x="255981" y="75498"/>
                    <a:pt x="254103" y="74371"/>
                  </a:cubicBezTo>
                  <a:cubicBezTo>
                    <a:pt x="252225" y="72869"/>
                    <a:pt x="249971" y="72118"/>
                    <a:pt x="247342" y="72118"/>
                  </a:cubicBezTo>
                  <a:lnTo>
                    <a:pt x="185366" y="72118"/>
                  </a:lnTo>
                  <a:close/>
                  <a:moveTo>
                    <a:pt x="189591" y="288471"/>
                  </a:moveTo>
                  <a:cubicBezTo>
                    <a:pt x="187150" y="288471"/>
                    <a:pt x="184990" y="289410"/>
                    <a:pt x="183112" y="291288"/>
                  </a:cubicBezTo>
                  <a:cubicBezTo>
                    <a:pt x="181234" y="293167"/>
                    <a:pt x="180295" y="295326"/>
                    <a:pt x="180295" y="297768"/>
                  </a:cubicBezTo>
                  <a:lnTo>
                    <a:pt x="180295" y="351293"/>
                  </a:lnTo>
                  <a:cubicBezTo>
                    <a:pt x="180295" y="353734"/>
                    <a:pt x="181234" y="355894"/>
                    <a:pt x="183112" y="357772"/>
                  </a:cubicBezTo>
                  <a:cubicBezTo>
                    <a:pt x="184990" y="359650"/>
                    <a:pt x="187150" y="360589"/>
                    <a:pt x="189591" y="360589"/>
                  </a:cubicBezTo>
                  <a:lnTo>
                    <a:pt x="243680" y="360589"/>
                  </a:lnTo>
                  <a:cubicBezTo>
                    <a:pt x="246121" y="360589"/>
                    <a:pt x="248187" y="359697"/>
                    <a:pt x="249877" y="357913"/>
                  </a:cubicBezTo>
                  <a:cubicBezTo>
                    <a:pt x="251568" y="356129"/>
                    <a:pt x="252413" y="353922"/>
                    <a:pt x="252413" y="351293"/>
                  </a:cubicBezTo>
                  <a:lnTo>
                    <a:pt x="252413" y="297768"/>
                  </a:lnTo>
                  <a:cubicBezTo>
                    <a:pt x="252413" y="295139"/>
                    <a:pt x="251568" y="292932"/>
                    <a:pt x="249877" y="291147"/>
                  </a:cubicBezTo>
                  <a:cubicBezTo>
                    <a:pt x="248187" y="289363"/>
                    <a:pt x="246121" y="288471"/>
                    <a:pt x="243680" y="288471"/>
                  </a:cubicBezTo>
                  <a:lnTo>
                    <a:pt x="189591" y="288471"/>
                  </a:lnTo>
                  <a:close/>
                </a:path>
              </a:pathLst>
            </a:custGeom>
            <a:solidFill>
              <a:srgbClr val="0E457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34" name="直接连接符 20">
            <a:extLst>
              <a:ext uri="{FF2B5EF4-FFF2-40B4-BE49-F238E27FC236}">
                <a16:creationId xmlns:a16="http://schemas.microsoft.com/office/drawing/2014/main" id="{C186BEE0-6575-433F-BEEC-C2DF10EBAC15}"/>
              </a:ext>
            </a:extLst>
          </p:cNvPr>
          <p:cNvCxnSpPr/>
          <p:nvPr/>
        </p:nvCxnSpPr>
        <p:spPr>
          <a:xfrm>
            <a:off x="868451" y="4559558"/>
            <a:ext cx="10620000" cy="0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grpSp>
        <p:nvGrpSpPr>
          <p:cNvPr id="44" name="群組 43"/>
          <p:cNvGrpSpPr/>
          <p:nvPr/>
        </p:nvGrpSpPr>
        <p:grpSpPr>
          <a:xfrm>
            <a:off x="1019361" y="2348880"/>
            <a:ext cx="684151" cy="603132"/>
            <a:chOff x="1019361" y="2465828"/>
            <a:chExt cx="684151" cy="603132"/>
          </a:xfrm>
        </p:grpSpPr>
        <p:sp>
          <p:nvSpPr>
            <p:cNvPr id="15" name="圆角矩形 50"/>
            <p:cNvSpPr/>
            <p:nvPr/>
          </p:nvSpPr>
          <p:spPr>
            <a:xfrm>
              <a:off x="1019361" y="2465828"/>
              <a:ext cx="684151" cy="603132"/>
            </a:xfrm>
            <a:prstGeom prst="roundRect">
              <a:avLst/>
            </a:prstGeom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A5A5A5">
                    <a:lumMod val="45000"/>
                    <a:lumOff val="55000"/>
                  </a:srgbClr>
                </a:gs>
                <a:gs pos="83000">
                  <a:srgbClr val="A5A5A5">
                    <a:lumMod val="45000"/>
                    <a:lumOff val="55000"/>
                  </a:srgbClr>
                </a:gs>
                <a:gs pos="100000">
                  <a:srgbClr val="A5A5A5">
                    <a:lumMod val="30000"/>
                    <a:lumOff val="70000"/>
                  </a:srgbClr>
                </a:gs>
              </a:gsLst>
              <a:lin ang="18900000" scaled="1"/>
              <a:tileRect/>
            </a:gradFill>
            <a:ln w="12700" cap="flat" cmpd="sng" algn="ctr">
              <a:gradFill flip="none" rotWithShape="1">
                <a:gsLst>
                  <a:gs pos="0">
                    <a:srgbClr val="A5A5A5">
                      <a:lumMod val="5000"/>
                      <a:lumOff val="95000"/>
                    </a:srgbClr>
                  </a:gs>
                  <a:gs pos="74000">
                    <a:srgbClr val="A5A5A5">
                      <a:lumMod val="45000"/>
                      <a:lumOff val="55000"/>
                    </a:srgbClr>
                  </a:gs>
                  <a:gs pos="83000">
                    <a:srgbClr val="A5A5A5">
                      <a:lumMod val="45000"/>
                      <a:lumOff val="55000"/>
                    </a:srgbClr>
                  </a:gs>
                  <a:gs pos="100000">
                    <a:srgbClr val="A5A5A5">
                      <a:lumMod val="30000"/>
                      <a:lumOff val="70000"/>
                    </a:srgbClr>
                  </a:gs>
                </a:gsLst>
                <a:lin ang="8100000" scaled="1"/>
                <a:tileRect/>
              </a:gradFill>
              <a:prstDash val="solid"/>
              <a:miter lim="800000"/>
            </a:ln>
            <a:effectLst>
              <a:outerShdw blurRad="127000" dist="50800" dir="8100000" algn="tr" rotWithShape="0">
                <a:sysClr val="window" lastClr="FFFFFF">
                  <a:lumMod val="50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algn="ctr" defTabSz="914173"/>
              <a:endParaRPr lang="zh-CN" altLang="en-US" sz="2000" kern="0">
                <a:solidFill>
                  <a:sysClr val="window" lastClr="FFFFFF"/>
                </a:solidFill>
                <a:latin typeface="Calibri" panose="020F0502020204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43" name="Freeform 477"/>
            <p:cNvSpPr/>
            <p:nvPr/>
          </p:nvSpPr>
          <p:spPr>
            <a:xfrm>
              <a:off x="1145637" y="2528952"/>
              <a:ext cx="396000" cy="468000"/>
            </a:xfrm>
            <a:custGeom>
              <a:avLst/>
              <a:gdLst>
                <a:gd name="connsiteX0" fmla="*/ 117191 w 432706"/>
                <a:gd name="connsiteY0" fmla="*/ 360589 h 504825"/>
                <a:gd name="connsiteX1" fmla="*/ 315515 w 432706"/>
                <a:gd name="connsiteY1" fmla="*/ 360589 h 504825"/>
                <a:gd name="connsiteX2" fmla="*/ 321994 w 432706"/>
                <a:gd name="connsiteY2" fmla="*/ 363125 h 504825"/>
                <a:gd name="connsiteX3" fmla="*/ 324530 w 432706"/>
                <a:gd name="connsiteY3" fmla="*/ 369604 h 504825"/>
                <a:gd name="connsiteX4" fmla="*/ 324530 w 432706"/>
                <a:gd name="connsiteY4" fmla="*/ 387634 h 504825"/>
                <a:gd name="connsiteX5" fmla="*/ 321994 w 432706"/>
                <a:gd name="connsiteY5" fmla="*/ 394113 h 504825"/>
                <a:gd name="connsiteX6" fmla="*/ 315515 w 432706"/>
                <a:gd name="connsiteY6" fmla="*/ 396648 h 504825"/>
                <a:gd name="connsiteX7" fmla="*/ 117191 w 432706"/>
                <a:gd name="connsiteY7" fmla="*/ 396648 h 504825"/>
                <a:gd name="connsiteX8" fmla="*/ 110712 w 432706"/>
                <a:gd name="connsiteY8" fmla="*/ 394113 h 504825"/>
                <a:gd name="connsiteX9" fmla="*/ 108176 w 432706"/>
                <a:gd name="connsiteY9" fmla="*/ 387634 h 504825"/>
                <a:gd name="connsiteX10" fmla="*/ 108176 w 432706"/>
                <a:gd name="connsiteY10" fmla="*/ 369604 h 504825"/>
                <a:gd name="connsiteX11" fmla="*/ 110712 w 432706"/>
                <a:gd name="connsiteY11" fmla="*/ 363125 h 504825"/>
                <a:gd name="connsiteX12" fmla="*/ 117191 w 432706"/>
                <a:gd name="connsiteY12" fmla="*/ 360589 h 504825"/>
                <a:gd name="connsiteX13" fmla="*/ 117191 w 432706"/>
                <a:gd name="connsiteY13" fmla="*/ 288471 h 504825"/>
                <a:gd name="connsiteX14" fmla="*/ 315515 w 432706"/>
                <a:gd name="connsiteY14" fmla="*/ 288471 h 504825"/>
                <a:gd name="connsiteX15" fmla="*/ 321994 w 432706"/>
                <a:gd name="connsiteY15" fmla="*/ 291007 h 504825"/>
                <a:gd name="connsiteX16" fmla="*/ 324530 w 432706"/>
                <a:gd name="connsiteY16" fmla="*/ 297486 h 504825"/>
                <a:gd name="connsiteX17" fmla="*/ 324530 w 432706"/>
                <a:gd name="connsiteY17" fmla="*/ 315516 h 504825"/>
                <a:gd name="connsiteX18" fmla="*/ 321994 w 432706"/>
                <a:gd name="connsiteY18" fmla="*/ 321995 h 504825"/>
                <a:gd name="connsiteX19" fmla="*/ 315515 w 432706"/>
                <a:gd name="connsiteY19" fmla="*/ 324530 h 504825"/>
                <a:gd name="connsiteX20" fmla="*/ 117191 w 432706"/>
                <a:gd name="connsiteY20" fmla="*/ 324530 h 504825"/>
                <a:gd name="connsiteX21" fmla="*/ 110712 w 432706"/>
                <a:gd name="connsiteY21" fmla="*/ 321995 h 504825"/>
                <a:gd name="connsiteX22" fmla="*/ 108176 w 432706"/>
                <a:gd name="connsiteY22" fmla="*/ 315516 h 504825"/>
                <a:gd name="connsiteX23" fmla="*/ 108176 w 432706"/>
                <a:gd name="connsiteY23" fmla="*/ 297486 h 504825"/>
                <a:gd name="connsiteX24" fmla="*/ 110712 w 432706"/>
                <a:gd name="connsiteY24" fmla="*/ 291007 h 504825"/>
                <a:gd name="connsiteX25" fmla="*/ 117191 w 432706"/>
                <a:gd name="connsiteY25" fmla="*/ 288471 h 504825"/>
                <a:gd name="connsiteX26" fmla="*/ 117191 w 432706"/>
                <a:gd name="connsiteY26" fmla="*/ 216353 h 504825"/>
                <a:gd name="connsiteX27" fmla="*/ 315515 w 432706"/>
                <a:gd name="connsiteY27" fmla="*/ 216353 h 504825"/>
                <a:gd name="connsiteX28" fmla="*/ 321994 w 432706"/>
                <a:gd name="connsiteY28" fmla="*/ 218888 h 504825"/>
                <a:gd name="connsiteX29" fmla="*/ 324530 w 432706"/>
                <a:gd name="connsiteY29" fmla="*/ 225367 h 504825"/>
                <a:gd name="connsiteX30" fmla="*/ 324530 w 432706"/>
                <a:gd name="connsiteY30" fmla="*/ 243397 h 504825"/>
                <a:gd name="connsiteX31" fmla="*/ 321994 w 432706"/>
                <a:gd name="connsiteY31" fmla="*/ 249876 h 504825"/>
                <a:gd name="connsiteX32" fmla="*/ 315515 w 432706"/>
                <a:gd name="connsiteY32" fmla="*/ 252411 h 504825"/>
                <a:gd name="connsiteX33" fmla="*/ 117191 w 432706"/>
                <a:gd name="connsiteY33" fmla="*/ 252411 h 504825"/>
                <a:gd name="connsiteX34" fmla="*/ 110712 w 432706"/>
                <a:gd name="connsiteY34" fmla="*/ 249876 h 504825"/>
                <a:gd name="connsiteX35" fmla="*/ 108176 w 432706"/>
                <a:gd name="connsiteY35" fmla="*/ 243397 h 504825"/>
                <a:gd name="connsiteX36" fmla="*/ 108176 w 432706"/>
                <a:gd name="connsiteY36" fmla="*/ 225367 h 504825"/>
                <a:gd name="connsiteX37" fmla="*/ 110712 w 432706"/>
                <a:gd name="connsiteY37" fmla="*/ 218888 h 504825"/>
                <a:gd name="connsiteX38" fmla="*/ 117191 w 432706"/>
                <a:gd name="connsiteY38" fmla="*/ 216353 h 504825"/>
                <a:gd name="connsiteX39" fmla="*/ 288471 w 432706"/>
                <a:gd name="connsiteY39" fmla="*/ 38312 h 504825"/>
                <a:gd name="connsiteX40" fmla="*/ 288471 w 432706"/>
                <a:gd name="connsiteY40" fmla="*/ 144236 h 504825"/>
                <a:gd name="connsiteX41" fmla="*/ 394394 w 432706"/>
                <a:gd name="connsiteY41" fmla="*/ 144236 h 504825"/>
                <a:gd name="connsiteX42" fmla="*/ 388196 w 432706"/>
                <a:gd name="connsiteY42" fmla="*/ 132685 h 504825"/>
                <a:gd name="connsiteX43" fmla="*/ 300021 w 432706"/>
                <a:gd name="connsiteY43" fmla="*/ 44510 h 504825"/>
                <a:gd name="connsiteX44" fmla="*/ 288471 w 432706"/>
                <a:gd name="connsiteY44" fmla="*/ 38312 h 504825"/>
                <a:gd name="connsiteX45" fmla="*/ 36059 w 432706"/>
                <a:gd name="connsiteY45" fmla="*/ 36059 h 504825"/>
                <a:gd name="connsiteX46" fmla="*/ 36059 w 432706"/>
                <a:gd name="connsiteY46" fmla="*/ 468766 h 504825"/>
                <a:gd name="connsiteX47" fmla="*/ 396648 w 432706"/>
                <a:gd name="connsiteY47" fmla="*/ 468766 h 504825"/>
                <a:gd name="connsiteX48" fmla="*/ 396648 w 432706"/>
                <a:gd name="connsiteY48" fmla="*/ 180295 h 504825"/>
                <a:gd name="connsiteX49" fmla="*/ 279456 w 432706"/>
                <a:gd name="connsiteY49" fmla="*/ 180295 h 504825"/>
                <a:gd name="connsiteX50" fmla="*/ 260300 w 432706"/>
                <a:gd name="connsiteY50" fmla="*/ 172407 h 504825"/>
                <a:gd name="connsiteX51" fmla="*/ 252412 w 432706"/>
                <a:gd name="connsiteY51" fmla="*/ 153251 h 504825"/>
                <a:gd name="connsiteX52" fmla="*/ 252412 w 432706"/>
                <a:gd name="connsiteY52" fmla="*/ 36059 h 504825"/>
                <a:gd name="connsiteX53" fmla="*/ 27044 w 432706"/>
                <a:gd name="connsiteY53" fmla="*/ 0 h 504825"/>
                <a:gd name="connsiteX54" fmla="*/ 279456 w 432706"/>
                <a:gd name="connsiteY54" fmla="*/ 0 h 504825"/>
                <a:gd name="connsiteX55" fmla="*/ 304246 w 432706"/>
                <a:gd name="connsiteY55" fmla="*/ 5634 h 504825"/>
                <a:gd name="connsiteX56" fmla="*/ 325656 w 432706"/>
                <a:gd name="connsiteY56" fmla="*/ 19156 h 504825"/>
                <a:gd name="connsiteX57" fmla="*/ 413550 w 432706"/>
                <a:gd name="connsiteY57" fmla="*/ 107050 h 504825"/>
                <a:gd name="connsiteX58" fmla="*/ 427073 w 432706"/>
                <a:gd name="connsiteY58" fmla="*/ 128460 h 504825"/>
                <a:gd name="connsiteX59" fmla="*/ 432706 w 432706"/>
                <a:gd name="connsiteY59" fmla="*/ 153251 h 504825"/>
                <a:gd name="connsiteX60" fmla="*/ 432706 w 432706"/>
                <a:gd name="connsiteY60" fmla="*/ 477781 h 504825"/>
                <a:gd name="connsiteX61" fmla="*/ 424818 w 432706"/>
                <a:gd name="connsiteY61" fmla="*/ 496937 h 504825"/>
                <a:gd name="connsiteX62" fmla="*/ 405662 w 432706"/>
                <a:gd name="connsiteY62" fmla="*/ 504825 h 504825"/>
                <a:gd name="connsiteX63" fmla="*/ 27044 w 432706"/>
                <a:gd name="connsiteY63" fmla="*/ 504825 h 504825"/>
                <a:gd name="connsiteX64" fmla="*/ 7888 w 432706"/>
                <a:gd name="connsiteY64" fmla="*/ 496937 h 504825"/>
                <a:gd name="connsiteX65" fmla="*/ 0 w 432706"/>
                <a:gd name="connsiteY65" fmla="*/ 477781 h 504825"/>
                <a:gd name="connsiteX66" fmla="*/ 0 w 432706"/>
                <a:gd name="connsiteY66" fmla="*/ 27044 h 504825"/>
                <a:gd name="connsiteX67" fmla="*/ 7888 w 432706"/>
                <a:gd name="connsiteY67" fmla="*/ 7888 h 504825"/>
                <a:gd name="connsiteX68" fmla="*/ 27044 w 432706"/>
                <a:gd name="connsiteY68" fmla="*/ 0 h 504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432706" h="504825">
                  <a:moveTo>
                    <a:pt x="117191" y="360589"/>
                  </a:moveTo>
                  <a:lnTo>
                    <a:pt x="315515" y="360589"/>
                  </a:lnTo>
                  <a:cubicBezTo>
                    <a:pt x="318144" y="360589"/>
                    <a:pt x="320304" y="361434"/>
                    <a:pt x="321994" y="363125"/>
                  </a:cubicBezTo>
                  <a:cubicBezTo>
                    <a:pt x="323684" y="364815"/>
                    <a:pt x="324530" y="366975"/>
                    <a:pt x="324530" y="369604"/>
                  </a:cubicBezTo>
                  <a:lnTo>
                    <a:pt x="324530" y="387634"/>
                  </a:lnTo>
                  <a:cubicBezTo>
                    <a:pt x="324530" y="390263"/>
                    <a:pt x="323684" y="392423"/>
                    <a:pt x="321994" y="394113"/>
                  </a:cubicBezTo>
                  <a:cubicBezTo>
                    <a:pt x="320304" y="395803"/>
                    <a:pt x="318144" y="396648"/>
                    <a:pt x="315515" y="396648"/>
                  </a:cubicBezTo>
                  <a:lnTo>
                    <a:pt x="117191" y="396648"/>
                  </a:lnTo>
                  <a:cubicBezTo>
                    <a:pt x="114562" y="396648"/>
                    <a:pt x="112402" y="395803"/>
                    <a:pt x="110712" y="394113"/>
                  </a:cubicBezTo>
                  <a:cubicBezTo>
                    <a:pt x="109021" y="392423"/>
                    <a:pt x="108176" y="390263"/>
                    <a:pt x="108176" y="387634"/>
                  </a:cubicBezTo>
                  <a:lnTo>
                    <a:pt x="108176" y="369604"/>
                  </a:lnTo>
                  <a:cubicBezTo>
                    <a:pt x="108176" y="366975"/>
                    <a:pt x="109021" y="364815"/>
                    <a:pt x="110712" y="363125"/>
                  </a:cubicBezTo>
                  <a:cubicBezTo>
                    <a:pt x="112402" y="361434"/>
                    <a:pt x="114562" y="360589"/>
                    <a:pt x="117191" y="360589"/>
                  </a:cubicBezTo>
                  <a:close/>
                  <a:moveTo>
                    <a:pt x="117191" y="288471"/>
                  </a:moveTo>
                  <a:lnTo>
                    <a:pt x="315515" y="288471"/>
                  </a:lnTo>
                  <a:cubicBezTo>
                    <a:pt x="318144" y="288471"/>
                    <a:pt x="320304" y="289317"/>
                    <a:pt x="321994" y="291007"/>
                  </a:cubicBezTo>
                  <a:cubicBezTo>
                    <a:pt x="323684" y="292697"/>
                    <a:pt x="324530" y="294857"/>
                    <a:pt x="324530" y="297486"/>
                  </a:cubicBezTo>
                  <a:lnTo>
                    <a:pt x="324530" y="315516"/>
                  </a:lnTo>
                  <a:cubicBezTo>
                    <a:pt x="324530" y="318145"/>
                    <a:pt x="323684" y="320305"/>
                    <a:pt x="321994" y="321995"/>
                  </a:cubicBezTo>
                  <a:cubicBezTo>
                    <a:pt x="320304" y="323685"/>
                    <a:pt x="318144" y="324530"/>
                    <a:pt x="315515" y="324530"/>
                  </a:cubicBezTo>
                  <a:lnTo>
                    <a:pt x="117191" y="324530"/>
                  </a:lnTo>
                  <a:cubicBezTo>
                    <a:pt x="114562" y="324530"/>
                    <a:pt x="112402" y="323685"/>
                    <a:pt x="110712" y="321995"/>
                  </a:cubicBezTo>
                  <a:cubicBezTo>
                    <a:pt x="109021" y="320305"/>
                    <a:pt x="108176" y="318145"/>
                    <a:pt x="108176" y="315516"/>
                  </a:cubicBezTo>
                  <a:lnTo>
                    <a:pt x="108176" y="297486"/>
                  </a:lnTo>
                  <a:cubicBezTo>
                    <a:pt x="108176" y="294857"/>
                    <a:pt x="109021" y="292697"/>
                    <a:pt x="110712" y="291007"/>
                  </a:cubicBezTo>
                  <a:cubicBezTo>
                    <a:pt x="112402" y="289317"/>
                    <a:pt x="114562" y="288471"/>
                    <a:pt x="117191" y="288471"/>
                  </a:cubicBezTo>
                  <a:close/>
                  <a:moveTo>
                    <a:pt x="117191" y="216353"/>
                  </a:moveTo>
                  <a:lnTo>
                    <a:pt x="315515" y="216353"/>
                  </a:lnTo>
                  <a:cubicBezTo>
                    <a:pt x="318144" y="216353"/>
                    <a:pt x="320304" y="217198"/>
                    <a:pt x="321994" y="218888"/>
                  </a:cubicBezTo>
                  <a:cubicBezTo>
                    <a:pt x="323684" y="220578"/>
                    <a:pt x="324530" y="222738"/>
                    <a:pt x="324530" y="225367"/>
                  </a:cubicBezTo>
                  <a:lnTo>
                    <a:pt x="324530" y="243397"/>
                  </a:lnTo>
                  <a:cubicBezTo>
                    <a:pt x="324530" y="246026"/>
                    <a:pt x="323684" y="248186"/>
                    <a:pt x="321994" y="249876"/>
                  </a:cubicBezTo>
                  <a:cubicBezTo>
                    <a:pt x="320304" y="251566"/>
                    <a:pt x="318144" y="252411"/>
                    <a:pt x="315515" y="252411"/>
                  </a:cubicBezTo>
                  <a:lnTo>
                    <a:pt x="117191" y="252411"/>
                  </a:lnTo>
                  <a:cubicBezTo>
                    <a:pt x="114562" y="252411"/>
                    <a:pt x="112402" y="251566"/>
                    <a:pt x="110712" y="249876"/>
                  </a:cubicBezTo>
                  <a:cubicBezTo>
                    <a:pt x="109021" y="248186"/>
                    <a:pt x="108176" y="246026"/>
                    <a:pt x="108176" y="243397"/>
                  </a:cubicBezTo>
                  <a:lnTo>
                    <a:pt x="108176" y="225367"/>
                  </a:lnTo>
                  <a:cubicBezTo>
                    <a:pt x="108176" y="222738"/>
                    <a:pt x="109021" y="220578"/>
                    <a:pt x="110712" y="218888"/>
                  </a:cubicBezTo>
                  <a:cubicBezTo>
                    <a:pt x="112402" y="217198"/>
                    <a:pt x="114562" y="216353"/>
                    <a:pt x="117191" y="216353"/>
                  </a:cubicBezTo>
                  <a:close/>
                  <a:moveTo>
                    <a:pt x="288471" y="38312"/>
                  </a:moveTo>
                  <a:lnTo>
                    <a:pt x="288471" y="144236"/>
                  </a:lnTo>
                  <a:lnTo>
                    <a:pt x="394394" y="144236"/>
                  </a:lnTo>
                  <a:cubicBezTo>
                    <a:pt x="392516" y="138789"/>
                    <a:pt x="390450" y="134939"/>
                    <a:pt x="388196" y="132685"/>
                  </a:cubicBezTo>
                  <a:lnTo>
                    <a:pt x="300021" y="44510"/>
                  </a:lnTo>
                  <a:cubicBezTo>
                    <a:pt x="297767" y="42256"/>
                    <a:pt x="293917" y="40191"/>
                    <a:pt x="288471" y="38312"/>
                  </a:cubicBezTo>
                  <a:close/>
                  <a:moveTo>
                    <a:pt x="36059" y="36059"/>
                  </a:moveTo>
                  <a:lnTo>
                    <a:pt x="36059" y="468766"/>
                  </a:lnTo>
                  <a:lnTo>
                    <a:pt x="396648" y="468766"/>
                  </a:lnTo>
                  <a:lnTo>
                    <a:pt x="396648" y="180295"/>
                  </a:lnTo>
                  <a:lnTo>
                    <a:pt x="279456" y="180295"/>
                  </a:lnTo>
                  <a:cubicBezTo>
                    <a:pt x="271944" y="180295"/>
                    <a:pt x="265558" y="177665"/>
                    <a:pt x="260300" y="172407"/>
                  </a:cubicBezTo>
                  <a:cubicBezTo>
                    <a:pt x="255041" y="167148"/>
                    <a:pt x="252412" y="160763"/>
                    <a:pt x="252412" y="153251"/>
                  </a:cubicBezTo>
                  <a:lnTo>
                    <a:pt x="252412" y="36059"/>
                  </a:lnTo>
                  <a:close/>
                  <a:moveTo>
                    <a:pt x="27044" y="0"/>
                  </a:moveTo>
                  <a:lnTo>
                    <a:pt x="279456" y="0"/>
                  </a:lnTo>
                  <a:cubicBezTo>
                    <a:pt x="286968" y="0"/>
                    <a:pt x="295232" y="1878"/>
                    <a:pt x="304246" y="5634"/>
                  </a:cubicBezTo>
                  <a:cubicBezTo>
                    <a:pt x="313261" y="9390"/>
                    <a:pt x="320398" y="13898"/>
                    <a:pt x="325656" y="19156"/>
                  </a:cubicBezTo>
                  <a:lnTo>
                    <a:pt x="413550" y="107050"/>
                  </a:lnTo>
                  <a:cubicBezTo>
                    <a:pt x="418809" y="112309"/>
                    <a:pt x="423316" y="119445"/>
                    <a:pt x="427073" y="128460"/>
                  </a:cubicBezTo>
                  <a:cubicBezTo>
                    <a:pt x="430828" y="137475"/>
                    <a:pt x="432706" y="145738"/>
                    <a:pt x="432706" y="153251"/>
                  </a:cubicBezTo>
                  <a:lnTo>
                    <a:pt x="432706" y="477781"/>
                  </a:lnTo>
                  <a:cubicBezTo>
                    <a:pt x="432706" y="485293"/>
                    <a:pt x="430077" y="491679"/>
                    <a:pt x="424818" y="496937"/>
                  </a:cubicBezTo>
                  <a:cubicBezTo>
                    <a:pt x="419560" y="502196"/>
                    <a:pt x="413175" y="504825"/>
                    <a:pt x="405662" y="504825"/>
                  </a:cubicBezTo>
                  <a:lnTo>
                    <a:pt x="27044" y="504825"/>
                  </a:lnTo>
                  <a:cubicBezTo>
                    <a:pt x="19531" y="504825"/>
                    <a:pt x="13146" y="502196"/>
                    <a:pt x="7888" y="496937"/>
                  </a:cubicBezTo>
                  <a:cubicBezTo>
                    <a:pt x="2629" y="491679"/>
                    <a:pt x="0" y="485293"/>
                    <a:pt x="0" y="477781"/>
                  </a:cubicBezTo>
                  <a:lnTo>
                    <a:pt x="0" y="27044"/>
                  </a:lnTo>
                  <a:cubicBezTo>
                    <a:pt x="0" y="19532"/>
                    <a:pt x="2629" y="13147"/>
                    <a:pt x="7888" y="7888"/>
                  </a:cubicBezTo>
                  <a:cubicBezTo>
                    <a:pt x="13146" y="2629"/>
                    <a:pt x="19531" y="0"/>
                    <a:pt x="27044" y="0"/>
                  </a:cubicBezTo>
                  <a:close/>
                </a:path>
              </a:pathLst>
            </a:custGeom>
            <a:solidFill>
              <a:srgbClr val="0E457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71256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2855640" y="2215435"/>
            <a:ext cx="648072" cy="1042850"/>
          </a:xfrm>
          <a:prstGeom prst="rect">
            <a:avLst/>
          </a:prstGeom>
          <a:solidFill>
            <a:schemeClr val="bg1"/>
          </a:solidFill>
          <a:ln>
            <a:solidFill>
              <a:srgbClr val="CE4C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>
                <a:latin typeface="+mj-lt"/>
                <a:cs typeface="Times New Roman" panose="02020603050405020304" pitchFamily="18" charset="0"/>
              </a:rPr>
              <a:t>Room Impulse Response Generator (6/7)</a:t>
            </a:r>
            <a:endParaRPr lang="zh-TW" altLang="en-US" dirty="0">
              <a:latin typeface="+mj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字方塊 3"/>
              <p:cNvSpPr txBox="1"/>
              <p:nvPr/>
            </p:nvSpPr>
            <p:spPr>
              <a:xfrm>
                <a:off x="1583986" y="2352911"/>
                <a:ext cx="1919726" cy="5983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TW" sz="2000" b="1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𝒖</m:t>
                          </m:r>
                        </m:e>
                        <m:sub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𝒋</m:t>
                          </m:r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sub>
                      </m:sSub>
                      <m:r>
                        <a:rPr lang="en-US" altLang="zh-TW" sz="2000" b="1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TW" sz="2000" b="1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𝒕</m:t>
                      </m:r>
                      <m:r>
                        <a:rPr lang="en-US" altLang="zh-TW" sz="2000" b="1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𝒅</m:t>
                              </m:r>
                            </m:e>
                            <m:sub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sub>
                          </m:sSub>
                        </m:num>
                        <m:den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</m:den>
                      </m:f>
                    </m:oMath>
                  </m:oMathPara>
                </a14:m>
                <a:endParaRPr lang="zh-TW" altLang="en-US" sz="2000" b="1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4" name="文字方塊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83986" y="2352911"/>
                <a:ext cx="1919726" cy="59830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字方塊 4"/>
              <p:cNvSpPr txBox="1"/>
              <p:nvPr/>
            </p:nvSpPr>
            <p:spPr>
              <a:xfrm>
                <a:off x="9264352" y="2405330"/>
                <a:ext cx="2168799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000" i="1"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altLang="zh-TW" sz="2000" i="1">
                          <a:latin typeface="Cambria Math" panose="02040503050406030204" pitchFamily="18" charset="0"/>
                        </a:rPr>
                        <m:t> :  </m:t>
                      </m:r>
                      <m:r>
                        <m:rPr>
                          <m:sty m:val="p"/>
                        </m:rPr>
                        <a:rPr lang="en-US" altLang="zh-TW" sz="2000">
                          <a:latin typeface="Cambria Math" panose="02040503050406030204" pitchFamily="18" charset="0"/>
                        </a:rPr>
                        <m:t>speed</m:t>
                      </m:r>
                      <m:r>
                        <a:rPr lang="en-US" altLang="zh-TW" sz="200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TW" sz="2000">
                          <a:latin typeface="Cambria Math" panose="02040503050406030204" pitchFamily="18" charset="0"/>
                        </a:rPr>
                        <m:t>of</m:t>
                      </m:r>
                      <m:r>
                        <a:rPr lang="en-US" altLang="zh-TW" sz="200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TW" sz="2000">
                          <a:latin typeface="Cambria Math" panose="02040503050406030204" pitchFamily="18" charset="0"/>
                        </a:rPr>
                        <m:t>sound</m:t>
                      </m:r>
                    </m:oMath>
                  </m:oMathPara>
                </a14:m>
                <a:endParaRPr lang="zh-TW" altLang="en-US" sz="2000" dirty="0"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" name="文字方塊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64352" y="2405330"/>
                <a:ext cx="2168799" cy="307777"/>
              </a:xfrm>
              <a:prstGeom prst="rect">
                <a:avLst/>
              </a:prstGeom>
              <a:blipFill>
                <a:blip r:embed="rId3"/>
                <a:stretch>
                  <a:fillRect l="-1124" r="-2247" b="-36000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字方塊 5"/>
              <p:cNvSpPr txBox="1"/>
              <p:nvPr/>
            </p:nvSpPr>
            <p:spPr>
              <a:xfrm>
                <a:off x="9274874" y="2807931"/>
                <a:ext cx="999953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000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US" altLang="zh-TW" sz="2000" i="1">
                          <a:latin typeface="Cambria Math" panose="02040503050406030204" pitchFamily="18" charset="0"/>
                        </a:rPr>
                        <m:t> :  </m:t>
                      </m:r>
                      <m:r>
                        <m:rPr>
                          <m:sty m:val="p"/>
                        </m:rPr>
                        <a:rPr lang="en-US" altLang="zh-TW" sz="2000">
                          <a:latin typeface="Cambria Math" panose="02040503050406030204" pitchFamily="18" charset="0"/>
                        </a:rPr>
                        <m:t>time</m:t>
                      </m:r>
                    </m:oMath>
                  </m:oMathPara>
                </a14:m>
                <a:endParaRPr lang="zh-TW" altLang="en-US" sz="2000" dirty="0"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6" name="文字方塊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74874" y="2807931"/>
                <a:ext cx="999953" cy="307777"/>
              </a:xfrm>
              <a:prstGeom prst="rect">
                <a:avLst/>
              </a:prstGeom>
              <a:blipFill>
                <a:blip r:embed="rId4"/>
                <a:stretch>
                  <a:fillRect l="-4242" r="-4848" b="-8000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" name="直線單箭頭接點 8"/>
          <p:cNvCxnSpPr/>
          <p:nvPr/>
        </p:nvCxnSpPr>
        <p:spPr>
          <a:xfrm>
            <a:off x="3575720" y="2713107"/>
            <a:ext cx="699452" cy="51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字方塊 9"/>
          <p:cNvSpPr txBox="1"/>
          <p:nvPr/>
        </p:nvSpPr>
        <p:spPr>
          <a:xfrm>
            <a:off x="4387587" y="2528441"/>
            <a:ext cx="4516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2000" dirty="0">
                <a:latin typeface="+mj-lt"/>
                <a:cs typeface="Times New Roman" panose="02020603050405020304" pitchFamily="18" charset="0"/>
              </a:rPr>
              <a:t>effective  time  delay  of  each echo</a:t>
            </a:r>
            <a:endParaRPr lang="zh-TW" altLang="en-US" sz="2000" dirty="0">
              <a:latin typeface="+mj-lt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矩形 10"/>
              <p:cNvSpPr/>
              <p:nvPr/>
            </p:nvSpPr>
            <p:spPr>
              <a:xfrm>
                <a:off x="1583986" y="4018284"/>
                <a:ext cx="4132413" cy="77886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TW" sz="2000" b="1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b>
                          <m:d>
                            <m:dPr>
                              <m:ctrlP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</m:e>
                          </m:d>
                        </m:sub>
                      </m:sSub>
                      <m:d>
                        <m:dPr>
                          <m:ctrlP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𝒖</m:t>
                              </m:r>
                            </m:e>
                            <m:sub>
                              <m:d>
                                <m:dPr>
                                  <m:ctrlP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𝒋</m:t>
                                  </m:r>
                                </m:e>
                              </m:d>
                            </m:sub>
                          </m:sSub>
                        </m:e>
                      </m:d>
                      <m:r>
                        <a:rPr lang="en-US" altLang="zh-TW" sz="2000" b="1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𝒊𝒇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  </m:t>
                              </m:r>
                              <m:sSub>
                                <m:sSubPr>
                                  <m:ctrlP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𝒖</m:t>
                                  </m:r>
                                </m:e>
                                <m:sub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𝒋</m:t>
                                  </m:r>
                                  <m:r>
                                    <a:rPr lang="en-US" altLang="zh-TW" sz="2000" b="1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sub>
                              </m:sSub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</m:e>
                            <m:e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,      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𝒐𝒕𝒉𝒆𝒓𝒘𝒊𝒔𝒆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zh-TW" altLang="en-US" sz="2000" b="1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11" name="矩形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83986" y="4018284"/>
                <a:ext cx="4132413" cy="77886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字方塊 12"/>
              <p:cNvSpPr txBox="1"/>
              <p:nvPr/>
            </p:nvSpPr>
            <p:spPr>
              <a:xfrm>
                <a:off x="1582311" y="3428705"/>
                <a:ext cx="6570710" cy="42966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TW" sz="2000" dirty="0">
                    <a:latin typeface="+mj-lt"/>
                    <a:cs typeface="Times New Roman" panose="02020603050405020304" pitchFamily="18" charset="0"/>
                  </a:rPr>
                  <a:t>Such tha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𝑗</m:t>
                        </m:r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)</m:t>
                        </m:r>
                      </m:sub>
                    </m:sSub>
                  </m:oMath>
                </a14:m>
                <a:r>
                  <a:rPr lang="zh-TW" altLang="en-US" sz="2000" dirty="0">
                    <a:latin typeface="+mj-lt"/>
                    <a:cs typeface="Times New Roman" panose="02020603050405020304" pitchFamily="18" charset="0"/>
                  </a:rPr>
                  <a:t> </a:t>
                </a:r>
                <a:r>
                  <a:rPr lang="en-US" altLang="zh-TW" sz="2000" dirty="0">
                    <a:latin typeface="+mj-lt"/>
                    <a:cs typeface="Times New Roman" panose="02020603050405020304" pitchFamily="18" charset="0"/>
                  </a:rPr>
                  <a:t>is 1 wh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𝑗</m:t>
                        </m:r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)</m:t>
                        </m:r>
                      </m:sub>
                    </m:sSub>
                    <m:r>
                      <a:rPr lang="en-US" altLang="zh-TW" sz="2000" i="1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en-US" altLang="zh-TW" sz="2000" dirty="0">
                    <a:latin typeface="+mj-lt"/>
                    <a:cs typeface="Times New Roman" panose="02020603050405020304" pitchFamily="18" charset="0"/>
                  </a:rPr>
                  <a:t> and 0 when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𝑗</m:t>
                        </m:r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)</m:t>
                        </m:r>
                      </m:sub>
                    </m:sSub>
                    <m:r>
                      <a:rPr lang="en-US" altLang="zh-TW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0</m:t>
                    </m:r>
                  </m:oMath>
                </a14:m>
                <a:endParaRPr lang="zh-TW" altLang="en-US" sz="2000" dirty="0">
                  <a:latin typeface="+mj-lt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3" name="文字方塊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82311" y="3428705"/>
                <a:ext cx="6570710" cy="429669"/>
              </a:xfrm>
              <a:prstGeom prst="rect">
                <a:avLst/>
              </a:prstGeom>
              <a:blipFill>
                <a:blip r:embed="rId6"/>
                <a:stretch>
                  <a:fillRect l="-1021" t="-7042" b="-16901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字方塊 13"/>
              <p:cNvSpPr txBox="1"/>
              <p:nvPr/>
            </p:nvSpPr>
            <p:spPr>
              <a:xfrm>
                <a:off x="3884355" y="5517232"/>
                <a:ext cx="2301143" cy="6698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000" b="1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𝑴𝒂𝒈𝒏𝒊𝒕𝒖𝒅𝒆</m:t>
                      </m:r>
                      <m:r>
                        <a:rPr lang="en-US" altLang="zh-TW" sz="2000" b="1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f>
                        <m:fPr>
                          <m:ctrlP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TW" sz="2000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sSub>
                            <m:sSubPr>
                              <m:ctrlP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𝒅</m:t>
                              </m:r>
                            </m:e>
                            <m:sub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𝒋</m:t>
                              </m:r>
                              <m:r>
                                <a:rPr lang="en-US" altLang="zh-TW" sz="2000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zh-TW" altLang="en-US" sz="2000" b="1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14" name="文字方塊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84355" y="5517232"/>
                <a:ext cx="2301143" cy="669863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7" name="Text Placeholder 3"/>
          <p:cNvSpPr txBox="1">
            <a:spLocks/>
          </p:cNvSpPr>
          <p:nvPr/>
        </p:nvSpPr>
        <p:spPr>
          <a:xfrm>
            <a:off x="958477" y="1691516"/>
            <a:ext cx="2961347" cy="3693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algn="l">
              <a:spcBef>
                <a:spcPts val="700"/>
              </a:spcBef>
              <a:buClr>
                <a:srgbClr val="DD8047"/>
              </a:buClr>
              <a:buSzPct val="60000"/>
              <a:defRPr/>
            </a:pPr>
            <a:r>
              <a:rPr lang="zh-TW" altLang="en-US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E457D"/>
                  </a:solidFill>
                </a:uFill>
                <a:latin typeface="Arial" panose="020B0604020202020204" pitchFamily="34" charset="0"/>
                <a:ea typeface="+mj-ea"/>
              </a:rPr>
              <a:t>定義</a:t>
            </a:r>
            <a:r>
              <a:rPr lang="en-US" altLang="zh-TW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E457D"/>
                  </a:solidFill>
                </a:uFill>
                <a:latin typeface="Arial" panose="020B0604020202020204" pitchFamily="34" charset="0"/>
                <a:ea typeface="+mj-ea"/>
              </a:rPr>
              <a:t>each impulse</a:t>
            </a:r>
          </a:p>
        </p:txBody>
      </p:sp>
      <p:sp>
        <p:nvSpPr>
          <p:cNvPr id="18" name="Text Placeholder 3"/>
          <p:cNvSpPr txBox="1">
            <a:spLocks/>
          </p:cNvSpPr>
          <p:nvPr/>
        </p:nvSpPr>
        <p:spPr>
          <a:xfrm>
            <a:off x="1956302" y="5137447"/>
            <a:ext cx="9419245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>
              <a:spcBef>
                <a:spcPct val="20000"/>
              </a:spcBef>
              <a:defRPr/>
            </a:pPr>
            <a:r>
              <a:rPr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再來我們要修正</a:t>
            </a:r>
            <a:r>
              <a:rPr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impulse responses </a:t>
            </a:r>
            <a:r>
              <a:rPr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的能量</a:t>
            </a:r>
            <a:r>
              <a:rPr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虛擬源距離麥克風越遠</a:t>
            </a:r>
            <a:r>
              <a:rPr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impulse</a:t>
            </a:r>
            <a:r>
              <a:rPr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能量越小</a:t>
            </a:r>
            <a:r>
              <a:rPr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)</a:t>
            </a:r>
            <a:endParaRPr lang="zh-TW" altLang="en-US" sz="2000" dirty="0">
              <a:solidFill>
                <a:schemeClr val="tx1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20" name="Oval 77"/>
          <p:cNvSpPr>
            <a:spLocks noChangeArrowheads="1"/>
          </p:cNvSpPr>
          <p:nvPr/>
        </p:nvSpPr>
        <p:spPr bwMode="auto">
          <a:xfrm>
            <a:off x="1280681" y="5142553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zh-TW" altLang="en-US" sz="2000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★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21" name="Text Placeholder 3"/>
          <p:cNvSpPr txBox="1">
            <a:spLocks/>
          </p:cNvSpPr>
          <p:nvPr/>
        </p:nvSpPr>
        <p:spPr>
          <a:xfrm>
            <a:off x="1956302" y="6381328"/>
            <a:ext cx="4874732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>
              <a:spcBef>
                <a:spcPct val="20000"/>
              </a:spcBef>
              <a:defRPr/>
            </a:pPr>
            <a:r>
              <a:rPr lang="zh-TW" altLang="en-US" sz="2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其餘詳細理論推導可參考教材所附的</a:t>
            </a:r>
            <a:r>
              <a:rPr lang="en-US" altLang="zh-TW" sz="2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PDF</a:t>
            </a:r>
            <a:r>
              <a:rPr lang="zh-TW" altLang="en-US" sz="2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檔</a:t>
            </a:r>
          </a:p>
        </p:txBody>
      </p:sp>
    </p:spTree>
    <p:extLst>
      <p:ext uri="{BB962C8B-B14F-4D97-AF65-F5344CB8AC3E}">
        <p14:creationId xmlns:p14="http://schemas.microsoft.com/office/powerpoint/2010/main" val="26234901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>
                <a:latin typeface="+mj-lt"/>
                <a:cs typeface="Times New Roman" panose="02020603050405020304" pitchFamily="18" charset="0"/>
              </a:rPr>
              <a:t>Room Impulse Response Generator (7/7)</a:t>
            </a:r>
            <a:endParaRPr lang="zh-TW" altLang="en-US" dirty="0">
              <a:latin typeface="+mj-lt"/>
            </a:endParaRPr>
          </a:p>
        </p:txBody>
      </p:sp>
      <p:sp>
        <p:nvSpPr>
          <p:cNvPr id="4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1659053" y="1844824"/>
            <a:ext cx="10212732" cy="6283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利用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Room Impulse Responses Generator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我們可模擬出一房間的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Impulse responses (IR)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，</a:t>
            </a:r>
            <a:endParaRPr lang="en-US" altLang="zh-TW" sz="2000" dirty="0"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再將聲音、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IR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兩者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convolution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即可得到該房間的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Echo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。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1659053" y="2729571"/>
            <a:ext cx="10656763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再來給予聲源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(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喇叭播出的聲音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)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、以及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echo(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麥克風收到的聲音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)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，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LMS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就可以估測此房間的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IR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。</a:t>
            </a:r>
          </a:p>
        </p:txBody>
      </p:sp>
      <p:grpSp>
        <p:nvGrpSpPr>
          <p:cNvPr id="7" name="群組 6"/>
          <p:cNvGrpSpPr/>
          <p:nvPr/>
        </p:nvGrpSpPr>
        <p:grpSpPr>
          <a:xfrm>
            <a:off x="983432" y="2733497"/>
            <a:ext cx="504056" cy="407471"/>
            <a:chOff x="983432" y="2465210"/>
            <a:chExt cx="504056" cy="407471"/>
          </a:xfrm>
        </p:grpSpPr>
        <p:sp>
          <p:nvSpPr>
            <p:cNvPr id="8" name="Oval 77"/>
            <p:cNvSpPr>
              <a:spLocks noChangeArrowheads="1"/>
            </p:cNvSpPr>
            <p:nvPr/>
          </p:nvSpPr>
          <p:spPr bwMode="auto">
            <a:xfrm>
              <a:off x="983432" y="2465210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文字方塊 8"/>
            <p:cNvSpPr txBox="1"/>
            <p:nvPr/>
          </p:nvSpPr>
          <p:spPr>
            <a:xfrm>
              <a:off x="1127448" y="2564904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2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10" name="群組 9"/>
          <p:cNvGrpSpPr/>
          <p:nvPr/>
        </p:nvGrpSpPr>
        <p:grpSpPr>
          <a:xfrm>
            <a:off x="983432" y="1844824"/>
            <a:ext cx="488625" cy="407471"/>
            <a:chOff x="983432" y="1844824"/>
            <a:chExt cx="488625" cy="407471"/>
          </a:xfrm>
        </p:grpSpPr>
        <p:sp>
          <p:nvSpPr>
            <p:cNvPr id="11" name="Oval 77"/>
            <p:cNvSpPr>
              <a:spLocks noChangeArrowheads="1"/>
            </p:cNvSpPr>
            <p:nvPr/>
          </p:nvSpPr>
          <p:spPr bwMode="auto">
            <a:xfrm>
              <a:off x="983432" y="1844824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文字方塊 11"/>
            <p:cNvSpPr txBox="1"/>
            <p:nvPr/>
          </p:nvSpPr>
          <p:spPr>
            <a:xfrm>
              <a:off x="1112017" y="1944518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1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12980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24440" y="2701326"/>
            <a:ext cx="6072160" cy="1303738"/>
          </a:xfrm>
        </p:spPr>
        <p:txBody>
          <a:bodyPr>
            <a:noAutofit/>
          </a:bodyPr>
          <a:lstStyle/>
          <a:p>
            <a:r>
              <a:rPr lang="en-US" altLang="zh-CN" sz="4400" dirty="0"/>
              <a:t>Least Mean Square Algorithm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6FFC11D-3423-45DD-9BC2-44A308075CFB}"/>
              </a:ext>
            </a:extLst>
          </p:cNvPr>
          <p:cNvSpPr txBox="1"/>
          <p:nvPr/>
        </p:nvSpPr>
        <p:spPr>
          <a:xfrm>
            <a:off x="3316529" y="1562028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12529F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04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12529F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7162450" y="5733256"/>
            <a:ext cx="492154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Ref : DSP</a:t>
            </a:r>
            <a:r>
              <a:rPr lang="zh-TW" altLang="en-US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期中專題二</a:t>
            </a:r>
            <a:r>
              <a:rPr lang="en-US" altLang="zh-TW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_echo (</a:t>
            </a:r>
            <a:r>
              <a:rPr lang="zh-TW" altLang="en-US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附檔</a:t>
            </a:r>
            <a:r>
              <a:rPr lang="en-US" altLang="zh-TW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7" name="矩形 6"/>
          <p:cNvSpPr/>
          <p:nvPr/>
        </p:nvSpPr>
        <p:spPr>
          <a:xfrm>
            <a:off x="7162450" y="6309320"/>
            <a:ext cx="279756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b="1" dirty="0" err="1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Matlab</a:t>
            </a:r>
            <a:r>
              <a:rPr lang="en-US" altLang="zh-TW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 : help LMS</a:t>
            </a:r>
          </a:p>
        </p:txBody>
      </p:sp>
      <p:sp>
        <p:nvSpPr>
          <p:cNvPr id="8" name="文字方塊 7"/>
          <p:cNvSpPr txBox="1"/>
          <p:nvPr/>
        </p:nvSpPr>
        <p:spPr>
          <a:xfrm>
            <a:off x="6384032" y="4037526"/>
            <a:ext cx="27513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+mj-lt"/>
                <a:cs typeface="Times New Roman" panose="02020603050405020304" pitchFamily="18" charset="0"/>
              </a:rPr>
              <a:t>System Architecture</a:t>
            </a:r>
            <a:endParaRPr lang="zh-TW" altLang="en-US" sz="200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9" name="文字方塊 8"/>
          <p:cNvSpPr txBox="1"/>
          <p:nvPr/>
        </p:nvSpPr>
        <p:spPr>
          <a:xfrm>
            <a:off x="6384032" y="4424921"/>
            <a:ext cx="15568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+mj-lt"/>
                <a:cs typeface="Times New Roman" panose="02020603050405020304" pitchFamily="18" charset="0"/>
              </a:rPr>
              <a:t>Algorithm</a:t>
            </a:r>
            <a:endParaRPr lang="zh-TW" altLang="en-US" sz="200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0" name="文字方塊 9"/>
          <p:cNvSpPr txBox="1"/>
          <p:nvPr/>
        </p:nvSpPr>
        <p:spPr>
          <a:xfrm>
            <a:off x="6398587" y="4825031"/>
            <a:ext cx="272222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+mj-lt"/>
                <a:cs typeface="Times New Roman" panose="02020603050405020304" pitchFamily="18" charset="0"/>
              </a:rPr>
              <a:t>Mean squared error</a:t>
            </a:r>
            <a:endParaRPr lang="zh-TW" altLang="en-US" sz="2000" dirty="0">
              <a:latin typeface="+mj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51009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1127448" y="4869160"/>
            <a:ext cx="10441160" cy="1752790"/>
          </a:xfrm>
          <a:prstGeom prst="roundRect">
            <a:avLst>
              <a:gd name="adj" fmla="val 9581"/>
            </a:avLst>
          </a:prstGeom>
          <a:solidFill>
            <a:srgbClr val="E1F0FB"/>
          </a:solidFill>
        </p:spPr>
        <p:txBody>
          <a:bodyPr anchor="ctr">
            <a:no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Font typeface="Wingdings"/>
              <a:buNone/>
            </a:pPr>
            <a:endParaRPr lang="es-ES" altLang="zh-TW" dirty="0"/>
          </a:p>
        </p:txBody>
      </p:sp>
      <p:sp>
        <p:nvSpPr>
          <p:cNvPr id="6" name="標題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/>
              <a:t>System Architecture</a:t>
            </a:r>
            <a:endParaRPr lang="zh-TW" altLang="en-US" dirty="0"/>
          </a:p>
        </p:txBody>
      </p:sp>
      <p:pic>
        <p:nvPicPr>
          <p:cNvPr id="4" name="Picture 6" descr="C:\Users\KK\Desktop\LMS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503712" y="1700808"/>
            <a:ext cx="5124693" cy="2978318"/>
          </a:xfrm>
          <a:prstGeom prst="rect">
            <a:avLst/>
          </a:prstGeom>
          <a:noFill/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字方塊 4"/>
              <p:cNvSpPr txBox="1"/>
              <p:nvPr/>
            </p:nvSpPr>
            <p:spPr>
              <a:xfrm>
                <a:off x="1222931" y="4893758"/>
                <a:ext cx="10461069" cy="164769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TW" sz="2000" i="1"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r>
                  <a:rPr lang="en-US" altLang="zh-TW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 : The current time index</a:t>
                </a:r>
              </a:p>
              <a:p>
                <a14:m>
                  <m:oMath xmlns:m="http://schemas.openxmlformats.org/officeDocument/2006/math">
                    <m:r>
                      <a:rPr lang="en-US" altLang="zh-TW" sz="2000" i="1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en-US" altLang="zh-TW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 : input signal (</a:t>
                </a:r>
                <a:r>
                  <a:rPr lang="zh-TW" altLang="en-US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喇叭發出的聲音</a:t>
                </a:r>
                <a:r>
                  <a:rPr lang="en-US" altLang="zh-TW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)</a:t>
                </a:r>
              </a:p>
              <a:p>
                <a14:m>
                  <m:oMath xmlns:m="http://schemas.openxmlformats.org/officeDocument/2006/math">
                    <m:r>
                      <a:rPr lang="en-US" altLang="zh-TW" sz="2000" i="1"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r>
                  <a:rPr lang="en-US" altLang="zh-TW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 : Convolution of  input acoustic signal and actual impulse responses</a:t>
                </a:r>
                <a:r>
                  <a:rPr lang="zh-TW" altLang="en-US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 </a:t>
                </a:r>
                <a:r>
                  <a:rPr lang="en-US" altLang="zh-TW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(</a:t>
                </a:r>
                <a:r>
                  <a:rPr lang="zh-TW" altLang="en-US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麥克風收到的聲音</a:t>
                </a:r>
                <a:r>
                  <a:rPr lang="en-US" altLang="zh-TW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)</a:t>
                </a:r>
                <a:r>
                  <a:rPr lang="zh-TW" altLang="en-US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 </a:t>
                </a:r>
                <a:endParaRPr lang="en-US" altLang="zh-TW" sz="2000" dirty="0">
                  <a:latin typeface="Arial" panose="020B0604020202020204" pitchFamily="34" charset="0"/>
                  <a:ea typeface="微軟正黑體" panose="020B0604030504040204" pitchFamily="34" charset="-120"/>
                  <a:cs typeface="Times New Roman" panose="02020603050405020304" pitchFamily="18" charset="0"/>
                </a:endParaRPr>
              </a:p>
              <a:p>
                <a14:m>
                  <m:oMath xmlns:m="http://schemas.openxmlformats.org/officeDocument/2006/math">
                    <m:r>
                      <a:rPr lang="en-US" altLang="zh-TW" sz="2000" i="1">
                        <a:latin typeface="Cambria Math" panose="02040503050406030204" pitchFamily="18" charset="0"/>
                        <a:ea typeface="標楷體" panose="03000509000000000000" pitchFamily="65" charset="-120"/>
                        <a:cs typeface="Times New Roman" panose="02020603050405020304" pitchFamily="18" charset="0"/>
                      </a:rPr>
                      <m:t>h</m:t>
                    </m:r>
                  </m:oMath>
                </a14:m>
                <a:r>
                  <a:rPr lang="en-US" altLang="zh-TW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 : Actual impulse responses</a:t>
                </a:r>
              </a:p>
              <a:p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altLang="zh-TW" sz="2000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altLang="zh-TW" sz="2000" i="1">
                            <a:latin typeface="Cambria Math" panose="02040503050406030204" pitchFamily="18" charset="0"/>
                          </a:rPr>
                          <m:t>h</m:t>
                        </m:r>
                      </m:e>
                    </m:acc>
                  </m:oMath>
                </a14:m>
                <a:r>
                  <a:rPr lang="en-US" altLang="zh-TW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 : Estimated impulse responses</a:t>
                </a:r>
                <a:r>
                  <a:rPr lang="zh-TW" altLang="en-US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 </a:t>
                </a:r>
                <a:endParaRPr lang="en-US" altLang="zh-TW" sz="2000" dirty="0">
                  <a:latin typeface="Arial" panose="020B0604020202020204" pitchFamily="34" charset="0"/>
                  <a:ea typeface="微軟正黑體" panose="020B0604030504040204" pitchFamily="34" charset="-12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" name="文字方塊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22931" y="4893758"/>
                <a:ext cx="10461069" cy="1647695"/>
              </a:xfrm>
              <a:prstGeom prst="rect">
                <a:avLst/>
              </a:prstGeom>
              <a:blipFill>
                <a:blip r:embed="rId3"/>
                <a:stretch>
                  <a:fillRect t="-1852" b="-5926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076898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/>
              <a:t>Algorithm</a:t>
            </a:r>
            <a:endParaRPr lang="zh-TW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字方塊 5"/>
              <p:cNvSpPr txBox="1"/>
              <p:nvPr/>
            </p:nvSpPr>
            <p:spPr>
              <a:xfrm>
                <a:off x="6023992" y="5974909"/>
                <a:ext cx="475848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zh-TW" altLang="en-US" sz="2000" i="1">
                        <a:latin typeface="Cambria Math" panose="02040503050406030204" pitchFamily="18" charset="0"/>
                      </a:rPr>
                      <m:t>𝜇</m:t>
                    </m:r>
                  </m:oMath>
                </a14:m>
                <a:r>
                  <a:rPr lang="zh-TW" altLang="en-US" sz="2000" i="1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 </a:t>
                </a:r>
                <a:r>
                  <a:rPr lang="en-US" altLang="zh-TW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:</a:t>
                </a:r>
                <a:r>
                  <a:rPr lang="zh-TW" altLang="en-US" sz="2000" i="1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 </a:t>
                </a:r>
                <a:r>
                  <a:rPr lang="en-US" altLang="zh-TW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Step size</a:t>
                </a:r>
                <a:r>
                  <a:rPr lang="zh-TW" altLang="en-US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  </a:t>
                </a:r>
                <a:r>
                  <a:rPr lang="en-US" altLang="zh-TW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(</a:t>
                </a:r>
                <a:r>
                  <a:rPr lang="zh-TW" altLang="en-US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決定</a:t>
                </a:r>
                <a:r>
                  <a:rPr lang="en-US" altLang="zh-TW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error</a:t>
                </a:r>
                <a:r>
                  <a:rPr lang="zh-TW" altLang="en-US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收斂速度的快慢</a:t>
                </a:r>
                <a:r>
                  <a:rPr lang="en-US" altLang="zh-TW" sz="2000" dirty="0"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)</a:t>
                </a:r>
              </a:p>
            </p:txBody>
          </p:sp>
        </mc:Choice>
        <mc:Fallback xmlns="">
          <p:sp>
            <p:nvSpPr>
              <p:cNvPr id="6" name="文字方塊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23992" y="5974909"/>
                <a:ext cx="4758482" cy="400110"/>
              </a:xfrm>
              <a:prstGeom prst="rect">
                <a:avLst/>
              </a:prstGeom>
              <a:blipFill>
                <a:blip r:embed="rId2"/>
                <a:stretch>
                  <a:fillRect t="-7576" r="-768" b="-25758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字方塊 7"/>
              <p:cNvSpPr txBox="1"/>
              <p:nvPr/>
            </p:nvSpPr>
            <p:spPr>
              <a:xfrm>
                <a:off x="2588290" y="2483790"/>
                <a:ext cx="3571362" cy="48160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b="1" i="1" smtClean="0">
                          <a:solidFill>
                            <a:srgbClr val="0E457D"/>
                          </a:solidFill>
                          <a:latin typeface="Cambria Math"/>
                        </a:rPr>
                        <m:t>𝒆</m:t>
                      </m:r>
                      <m:d>
                        <m:dPr>
                          <m:ctrlP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/>
                            </a:rPr>
                            <m:t>𝒏</m:t>
                          </m:r>
                        </m:e>
                      </m:d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=</m:t>
                      </m:r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𝒚</m:t>
                      </m:r>
                      <m:d>
                        <m:dPr>
                          <m:ctrlP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/>
                            </a:rPr>
                            <m:t>𝒏</m:t>
                          </m:r>
                        </m:e>
                      </m:d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−</m:t>
                      </m:r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𝒙</m:t>
                      </m:r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(</m:t>
                      </m:r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𝒏</m:t>
                      </m:r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)</m:t>
                      </m:r>
                      <m:acc>
                        <m:accPr>
                          <m:chr m:val="̂"/>
                          <m:ctrlP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/>
                            </a:rPr>
                            <m:t>𝒉</m:t>
                          </m:r>
                        </m:e>
                      </m:acc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(</m:t>
                      </m:r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𝒏</m:t>
                      </m:r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altLang="zh-TW" b="1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8" name="文字方塊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8290" y="2483790"/>
                <a:ext cx="3571362" cy="48160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字方塊 10"/>
              <p:cNvSpPr txBox="1"/>
              <p:nvPr/>
            </p:nvSpPr>
            <p:spPr>
              <a:xfrm>
                <a:off x="2644770" y="5309496"/>
                <a:ext cx="4325928" cy="48160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altLang="zh-TW" b="1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/>
                            </a:rPr>
                            <m:t>𝒉</m:t>
                          </m:r>
                        </m:e>
                      </m:acc>
                      <m:d>
                        <m:dPr>
                          <m:ctrlP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/>
                            </a:rPr>
                            <m:t>𝒏</m:t>
                          </m:r>
                          <m: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/>
                            </a:rPr>
                            <m:t>+</m:t>
                          </m:r>
                          <m: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/>
                            </a:rPr>
                            <m:t>𝟏</m:t>
                          </m:r>
                        </m:e>
                      </m:d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=</m:t>
                      </m:r>
                      <m:acc>
                        <m:accPr>
                          <m:chr m:val="̂"/>
                          <m:ctrlP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/>
                            </a:rPr>
                            <m:t>𝒉</m:t>
                          </m:r>
                        </m:e>
                      </m:acc>
                      <m:d>
                        <m:dPr>
                          <m:ctrlP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/>
                            </a:rPr>
                            <m:t>𝒏</m:t>
                          </m:r>
                        </m:e>
                      </m:d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+</m:t>
                      </m:r>
                      <m:r>
                        <a:rPr lang="zh-TW" altLang="en-US" b="1" i="1">
                          <a:solidFill>
                            <a:srgbClr val="0E457D"/>
                          </a:solidFill>
                          <a:latin typeface="Cambria Math"/>
                        </a:rPr>
                        <m:t>𝝁</m:t>
                      </m:r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𝒆</m:t>
                      </m:r>
                      <m:d>
                        <m:dPr>
                          <m:ctrlP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/>
                            </a:rPr>
                            <m:t>𝒏</m:t>
                          </m:r>
                        </m:e>
                      </m:d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𝒙</m:t>
                      </m:r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(</m:t>
                      </m:r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𝒏</m:t>
                      </m:r>
                      <m:r>
                        <a:rPr lang="en-US" altLang="zh-TW" b="1" i="1">
                          <a:solidFill>
                            <a:srgbClr val="0E457D"/>
                          </a:soli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altLang="zh-TW" b="1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11" name="文字方塊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44770" y="5309496"/>
                <a:ext cx="4325928" cy="48160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6" descr="C:\Users\KK\Desktop\LMS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811488" y="1844823"/>
            <a:ext cx="4615160" cy="2682193"/>
          </a:xfrm>
          <a:prstGeom prst="rect">
            <a:avLst/>
          </a:prstGeom>
          <a:noFill/>
        </p:spPr>
      </p:pic>
      <p:sp>
        <p:nvSpPr>
          <p:cNvPr id="12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3" name="Text Placeholder 3"/>
          <p:cNvSpPr txBox="1">
            <a:spLocks/>
          </p:cNvSpPr>
          <p:nvPr/>
        </p:nvSpPr>
        <p:spPr>
          <a:xfrm>
            <a:off x="1659053" y="1847471"/>
            <a:ext cx="2899833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It first defines the error as</a:t>
            </a:r>
          </a:p>
        </p:txBody>
      </p:sp>
      <p:sp>
        <p:nvSpPr>
          <p:cNvPr id="14" name="Text Placeholder 3"/>
          <p:cNvSpPr txBox="1">
            <a:spLocks/>
          </p:cNvSpPr>
          <p:nvPr/>
        </p:nvSpPr>
        <p:spPr>
          <a:xfrm>
            <a:off x="1659053" y="4711080"/>
            <a:ext cx="9496189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Afterwards, LMS iteratively updates ℎ ̂ by minimizing the least mean square error as</a:t>
            </a:r>
          </a:p>
        </p:txBody>
      </p:sp>
      <p:grpSp>
        <p:nvGrpSpPr>
          <p:cNvPr id="15" name="群組 14"/>
          <p:cNvGrpSpPr/>
          <p:nvPr/>
        </p:nvGrpSpPr>
        <p:grpSpPr>
          <a:xfrm>
            <a:off x="983432" y="4715006"/>
            <a:ext cx="504056" cy="407471"/>
            <a:chOff x="983432" y="2465210"/>
            <a:chExt cx="504056" cy="407471"/>
          </a:xfrm>
        </p:grpSpPr>
        <p:sp>
          <p:nvSpPr>
            <p:cNvPr id="16" name="Oval 77"/>
            <p:cNvSpPr>
              <a:spLocks noChangeArrowheads="1"/>
            </p:cNvSpPr>
            <p:nvPr/>
          </p:nvSpPr>
          <p:spPr bwMode="auto">
            <a:xfrm>
              <a:off x="983432" y="2465210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文字方塊 16"/>
            <p:cNvSpPr txBox="1"/>
            <p:nvPr/>
          </p:nvSpPr>
          <p:spPr>
            <a:xfrm>
              <a:off x="1127448" y="2564904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2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18" name="群組 17"/>
          <p:cNvGrpSpPr/>
          <p:nvPr/>
        </p:nvGrpSpPr>
        <p:grpSpPr>
          <a:xfrm>
            <a:off x="983432" y="1844824"/>
            <a:ext cx="488625" cy="407471"/>
            <a:chOff x="983432" y="1844824"/>
            <a:chExt cx="488625" cy="407471"/>
          </a:xfrm>
        </p:grpSpPr>
        <p:sp>
          <p:nvSpPr>
            <p:cNvPr id="19" name="Oval 77"/>
            <p:cNvSpPr>
              <a:spLocks noChangeArrowheads="1"/>
            </p:cNvSpPr>
            <p:nvPr/>
          </p:nvSpPr>
          <p:spPr bwMode="auto">
            <a:xfrm>
              <a:off x="983432" y="1844824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文字方塊 19"/>
            <p:cNvSpPr txBox="1"/>
            <p:nvPr/>
          </p:nvSpPr>
          <p:spPr>
            <a:xfrm>
              <a:off x="1112017" y="1944518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1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941356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標題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/>
              <a:t>Mean squared error (</a:t>
            </a:r>
            <a:r>
              <a:rPr lang="zh-TW" altLang="en-US" dirty="0"/>
              <a:t>均方差，</a:t>
            </a:r>
            <a:r>
              <a:rPr lang="en-US" altLang="zh-TW" dirty="0"/>
              <a:t>MSE)</a:t>
            </a:r>
            <a:endParaRPr lang="zh-TW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字方塊 4"/>
              <p:cNvSpPr txBox="1"/>
              <p:nvPr/>
            </p:nvSpPr>
            <p:spPr>
              <a:xfrm>
                <a:off x="2054538" y="3277378"/>
                <a:ext cx="2101409" cy="37766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b="1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𝟏𝟎</m:t>
                      </m:r>
                      <m:func>
                        <m:funcPr>
                          <m:ctrlPr>
                            <a:rPr lang="en-US" altLang="zh-TW" b="1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sSub>
                            <m:sSubPr>
                              <m:ctrlPr>
                                <a:rPr lang="en-US" altLang="zh-TW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TW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𝒍𝒐𝒈</m:t>
                              </m:r>
                            </m:e>
                            <m:sub>
                              <m:r>
                                <a:rPr lang="en-US" altLang="zh-TW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𝟏𝟎</m:t>
                              </m:r>
                            </m:sub>
                          </m:sSub>
                        </m:fName>
                        <m:e>
                          <m:sSup>
                            <m:sSupPr>
                              <m:ctrlPr>
                                <a:rPr lang="en-US" altLang="zh-TW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TW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𝒆</m:t>
                              </m:r>
                              <m:r>
                                <a:rPr lang="en-US" altLang="zh-TW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altLang="zh-TW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𝒏</m:t>
                              </m:r>
                              <m:r>
                                <a:rPr lang="en-US" altLang="zh-TW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en-US" altLang="zh-TW" b="1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</m:sup>
                          </m:sSup>
                        </m:e>
                      </m:func>
                    </m:oMath>
                  </m:oMathPara>
                </a14:m>
                <a:endParaRPr lang="zh-TW" altLang="en-US" b="1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5" name="文字方塊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54538" y="3277378"/>
                <a:ext cx="2101409" cy="377667"/>
              </a:xfrm>
              <a:prstGeom prst="rect">
                <a:avLst/>
              </a:prstGeom>
              <a:blipFill>
                <a:blip r:embed="rId2"/>
                <a:stretch>
                  <a:fillRect l="-2609" r="-870" b="-37097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5" name="Freeform 359"/>
          <p:cNvSpPr>
            <a:spLocks noChangeAspect="1"/>
          </p:cNvSpPr>
          <p:nvPr/>
        </p:nvSpPr>
        <p:spPr>
          <a:xfrm>
            <a:off x="1487520" y="4490717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 Placeholder 3"/>
          <p:cNvSpPr txBox="1">
            <a:spLocks/>
          </p:cNvSpPr>
          <p:nvPr/>
        </p:nvSpPr>
        <p:spPr>
          <a:xfrm>
            <a:off x="1956302" y="4482927"/>
            <a:ext cx="1923604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將單位轉換成 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dB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 Placeholder 3"/>
              <p:cNvSpPr txBox="1">
                <a:spLocks/>
              </p:cNvSpPr>
              <p:nvPr/>
            </p:nvSpPr>
            <p:spPr>
              <a:xfrm>
                <a:off x="1659053" y="1848850"/>
                <a:ext cx="9549515" cy="6320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>
                <a:lvl1pPr marL="0" indent="0" algn="ctr">
                  <a:buNone/>
                  <a:defRPr sz="14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</a:defRPr>
                </a:lvl1pPr>
                <a:lvl2pPr marL="457200" indent="0">
                  <a:buNone/>
                  <a:defRPr sz="1200"/>
                </a:lvl2pPr>
                <a:lvl3pPr marL="914400" indent="0">
                  <a:buNone/>
                  <a:defRPr sz="1000"/>
                </a:lvl3pPr>
                <a:lvl4pPr marL="1371600" indent="0">
                  <a:buNone/>
                  <a:defRPr sz="900"/>
                </a:lvl4pPr>
                <a:lvl5pPr marL="1828800" indent="0">
                  <a:buNone/>
                  <a:defRPr sz="900"/>
                </a:lvl5pPr>
                <a:lvl6pPr marL="2286000" indent="0">
                  <a:buNone/>
                  <a:defRPr sz="900"/>
                </a:lvl6pPr>
                <a:lvl7pPr marL="2743200" indent="0">
                  <a:buNone/>
                  <a:defRPr sz="900"/>
                </a:lvl7pPr>
                <a:lvl8pPr marL="3200400" indent="0">
                  <a:buNone/>
                  <a:defRPr sz="900"/>
                </a:lvl8pPr>
                <a:lvl9pPr marL="3657600" indent="0">
                  <a:buNone/>
                  <a:defRPr sz="900"/>
                </a:lvl9pPr>
              </a:lstStyle>
              <a:p>
                <a:pPr marL="0" lvl="1" eaLnBrk="1" fontAlgn="auto" hangingPunct="1">
                  <a:spcBef>
                    <a:spcPts val="100"/>
                  </a:spcBef>
                  <a:spcAft>
                    <a:spcPts val="0"/>
                  </a:spcAft>
                </a:pPr>
                <a:r>
                  <a:rPr lang="zh-TW" altLang="en-US" sz="2000" dirty="0">
                    <a:latin typeface="Arial" panose="020B0604020202020204" pitchFamily="34" charset="0"/>
                    <a:ea typeface="微軟正黑體" panose="020B0604030504040204" pitchFamily="34" charset="-120"/>
                  </a:rPr>
                  <a:t>均方差為一般評估誤差常用的方式之一，求出來的</a:t>
                </a:r>
                <a:r>
                  <a:rPr lang="en-US" altLang="zh-TW" sz="2000" dirty="0">
                    <a:latin typeface="Arial" panose="020B0604020202020204" pitchFamily="34" charset="0"/>
                    <a:ea typeface="微軟正黑體" panose="020B0604030504040204" pitchFamily="34" charset="-120"/>
                  </a:rPr>
                  <a:t>MSE</a:t>
                </a:r>
                <a:r>
                  <a:rPr lang="zh-TW" altLang="en-US" sz="2000" dirty="0">
                    <a:latin typeface="Arial" panose="020B0604020202020204" pitchFamily="34" charset="0"/>
                    <a:ea typeface="微軟正黑體" panose="020B0604030504040204" pitchFamily="34" charset="-120"/>
                  </a:rPr>
                  <a:t>值越小，表示</a:t>
                </a:r>
                <a14:m>
                  <m:oMath xmlns:m="http://schemas.openxmlformats.org/officeDocument/2006/math">
                    <m:r>
                      <a:rPr lang="en-US" altLang="zh-TW" sz="2000" i="1">
                        <a:latin typeface="Cambria Math" panose="02040503050406030204" pitchFamily="18" charset="0"/>
                      </a:rPr>
                      <m:t>h</m:t>
                    </m:r>
                  </m:oMath>
                </a14:m>
                <a:r>
                  <a:rPr lang="zh-TW" altLang="en-US" sz="2000" dirty="0">
                    <a:latin typeface="Arial" panose="020B0604020202020204" pitchFamily="34" charset="0"/>
                    <a:ea typeface="微軟正黑體" panose="020B0604030504040204" pitchFamily="34" charset="-120"/>
                  </a:rPr>
                  <a:t>與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zh-TW" altLang="en-US" sz="2000" i="1" dirty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altLang="zh-TW" sz="2000" i="1" dirty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</m:acc>
                  </m:oMath>
                </a14:m>
                <a:r>
                  <a:rPr lang="en-US" altLang="zh-TW" sz="2000" dirty="0">
                    <a:latin typeface="Arial" panose="020B0604020202020204" pitchFamily="34" charset="0"/>
                    <a:ea typeface="微軟正黑體" panose="020B0604030504040204" pitchFamily="34" charset="-120"/>
                  </a:rPr>
                  <a:t>̂</a:t>
                </a:r>
                <a:r>
                  <a:rPr lang="zh-TW" altLang="en-US" sz="2000" dirty="0">
                    <a:latin typeface="Arial" panose="020B0604020202020204" pitchFamily="34" charset="0"/>
                    <a:ea typeface="微軟正黑體" panose="020B0604030504040204" pitchFamily="34" charset="-120"/>
                  </a:rPr>
                  <a:t>之間的差異少，也就代表回音消除效果越好。</a:t>
                </a:r>
              </a:p>
            </p:txBody>
          </p:sp>
        </mc:Choice>
        <mc:Fallback xmlns="">
          <p:sp>
            <p:nvSpPr>
              <p:cNvPr id="17" name="Text Placeholder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59053" y="1848850"/>
                <a:ext cx="9549515" cy="632033"/>
              </a:xfrm>
              <a:prstGeom prst="rect">
                <a:avLst/>
              </a:prstGeom>
              <a:blipFill>
                <a:blip r:embed="rId3"/>
                <a:stretch>
                  <a:fillRect l="-1595" t="-11538" r="-1085" b="-24038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8" name="群組 17"/>
          <p:cNvGrpSpPr/>
          <p:nvPr/>
        </p:nvGrpSpPr>
        <p:grpSpPr>
          <a:xfrm>
            <a:off x="983432" y="1844824"/>
            <a:ext cx="488625" cy="407471"/>
            <a:chOff x="983432" y="1844824"/>
            <a:chExt cx="488625" cy="407471"/>
          </a:xfrm>
        </p:grpSpPr>
        <p:sp>
          <p:nvSpPr>
            <p:cNvPr id="19" name="Oval 77"/>
            <p:cNvSpPr>
              <a:spLocks noChangeArrowheads="1"/>
            </p:cNvSpPr>
            <p:nvPr/>
          </p:nvSpPr>
          <p:spPr bwMode="auto">
            <a:xfrm>
              <a:off x="983432" y="1844824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文字方塊 19"/>
            <p:cNvSpPr txBox="1"/>
            <p:nvPr/>
          </p:nvSpPr>
          <p:spPr>
            <a:xfrm>
              <a:off x="1112017" y="1944518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1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sp>
        <p:nvSpPr>
          <p:cNvPr id="22" name="Text Placeholder 3"/>
          <p:cNvSpPr txBox="1">
            <a:spLocks/>
          </p:cNvSpPr>
          <p:nvPr/>
        </p:nvSpPr>
        <p:spPr>
          <a:xfrm>
            <a:off x="1659053" y="2723184"/>
            <a:ext cx="9549515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此實驗中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MSE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計算方法為：</a:t>
            </a:r>
            <a:endParaRPr lang="en-US" altLang="zh-TW" sz="2000" dirty="0"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23" name="群組 22"/>
          <p:cNvGrpSpPr/>
          <p:nvPr/>
        </p:nvGrpSpPr>
        <p:grpSpPr>
          <a:xfrm>
            <a:off x="983432" y="2720933"/>
            <a:ext cx="488625" cy="407471"/>
            <a:chOff x="983432" y="1844824"/>
            <a:chExt cx="488625" cy="407471"/>
          </a:xfrm>
        </p:grpSpPr>
        <p:sp>
          <p:nvSpPr>
            <p:cNvPr id="24" name="Oval 77"/>
            <p:cNvSpPr>
              <a:spLocks noChangeArrowheads="1"/>
            </p:cNvSpPr>
            <p:nvPr/>
          </p:nvSpPr>
          <p:spPr bwMode="auto">
            <a:xfrm>
              <a:off x="983432" y="1844824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" name="文字方塊 24"/>
            <p:cNvSpPr txBox="1"/>
            <p:nvPr/>
          </p:nvSpPr>
          <p:spPr>
            <a:xfrm>
              <a:off x="1112017" y="1944518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2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sp>
        <p:nvSpPr>
          <p:cNvPr id="26" name="Text Placeholder 3"/>
          <p:cNvSpPr txBox="1">
            <a:spLocks/>
          </p:cNvSpPr>
          <p:nvPr/>
        </p:nvSpPr>
        <p:spPr>
          <a:xfrm>
            <a:off x="1659053" y="3935307"/>
            <a:ext cx="9549515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此計算方法在本實驗中有兩個用途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: </a:t>
            </a:r>
          </a:p>
        </p:txBody>
      </p:sp>
      <p:grpSp>
        <p:nvGrpSpPr>
          <p:cNvPr id="27" name="群組 26"/>
          <p:cNvGrpSpPr/>
          <p:nvPr/>
        </p:nvGrpSpPr>
        <p:grpSpPr>
          <a:xfrm>
            <a:off x="983432" y="3933056"/>
            <a:ext cx="488625" cy="407471"/>
            <a:chOff x="983432" y="1844824"/>
            <a:chExt cx="488625" cy="407471"/>
          </a:xfrm>
        </p:grpSpPr>
        <p:sp>
          <p:nvSpPr>
            <p:cNvPr id="28" name="Oval 77"/>
            <p:cNvSpPr>
              <a:spLocks noChangeArrowheads="1"/>
            </p:cNvSpPr>
            <p:nvPr/>
          </p:nvSpPr>
          <p:spPr bwMode="auto">
            <a:xfrm>
              <a:off x="983432" y="1844824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文字方塊 28"/>
            <p:cNvSpPr txBox="1"/>
            <p:nvPr/>
          </p:nvSpPr>
          <p:spPr>
            <a:xfrm>
              <a:off x="1112017" y="1944518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3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sp>
        <p:nvSpPr>
          <p:cNvPr id="30" name="Freeform 359"/>
          <p:cNvSpPr>
            <a:spLocks noChangeAspect="1"/>
          </p:cNvSpPr>
          <p:nvPr/>
        </p:nvSpPr>
        <p:spPr>
          <a:xfrm>
            <a:off x="1487520" y="5044911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 Placeholder 3"/>
          <p:cNvSpPr txBox="1">
            <a:spLocks/>
          </p:cNvSpPr>
          <p:nvPr/>
        </p:nvSpPr>
        <p:spPr>
          <a:xfrm>
            <a:off x="1956302" y="5037121"/>
            <a:ext cx="4414670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可觀察 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error 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收斂趨近於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0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時的詳細數值</a:t>
            </a:r>
          </a:p>
        </p:txBody>
      </p:sp>
    </p:spTree>
    <p:extLst>
      <p:ext uri="{BB962C8B-B14F-4D97-AF65-F5344CB8AC3E}">
        <p14:creationId xmlns:p14="http://schemas.microsoft.com/office/powerpoint/2010/main" val="38957118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標題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Mean squared error (</a:t>
            </a:r>
            <a:r>
              <a:rPr lang="zh-TW" altLang="en-US" dirty="0"/>
              <a:t>均方差，</a:t>
            </a:r>
            <a:r>
              <a:rPr lang="en-US" altLang="zh-TW" dirty="0"/>
              <a:t>MSE)</a:t>
            </a:r>
            <a:endParaRPr lang="zh-TW" altLang="en-US" dirty="0"/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4030" y="2060848"/>
            <a:ext cx="4994370" cy="373230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字方塊 4"/>
              <p:cNvSpPr txBox="1"/>
              <p:nvPr/>
            </p:nvSpPr>
            <p:spPr>
              <a:xfrm>
                <a:off x="6269862" y="2276872"/>
                <a:ext cx="4290634" cy="10226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20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rPr>
                  <a:t>此圖代表 </a:t>
                </a:r>
                <a:r>
                  <a:rPr lang="en-US" altLang="zh-TW" sz="20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rPr>
                  <a:t>:  </a:t>
                </a:r>
              </a:p>
              <a:p>
                <a:r>
                  <a:rPr lang="en-US" altLang="zh-TW" sz="20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rPr>
                  <a:t>error</a:t>
                </a:r>
                <a:r>
                  <a:rPr lang="zh-TW" altLang="en-US" sz="20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rPr>
                  <a:t>在約第𝟓萬次疊代時開始收斂，</a:t>
                </a:r>
              </a:p>
              <a:p>
                <a:r>
                  <a:rPr lang="zh-TW" altLang="en-US" sz="20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rPr>
                  <a:t>，且</a:t>
                </a:r>
                <a:r>
                  <a:rPr lang="en-US" altLang="zh-TW" sz="20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Times New Roman" panose="02020603050405020304" pitchFamily="18" charset="0"/>
                  </a:rPr>
                  <a:t>error</a:t>
                </a:r>
                <a:r>
                  <a:rPr lang="zh-TW" altLang="en-US" sz="20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rPr>
                  <a:t>在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TW" sz="2000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TW" sz="2000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altLang="zh-TW" sz="2000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altLang="zh-TW" sz="2000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𝟏𝟔</m:t>
                        </m:r>
                      </m:sup>
                    </m:sSup>
                  </m:oMath>
                </a14:m>
                <a:r>
                  <a:rPr lang="zh-TW" altLang="en-US" sz="20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rPr>
                  <a:t>後開始有值。</a:t>
                </a:r>
              </a:p>
            </p:txBody>
          </p:sp>
        </mc:Choice>
        <mc:Fallback xmlns="">
          <p:sp>
            <p:nvSpPr>
              <p:cNvPr id="5" name="文字方塊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69862" y="2276872"/>
                <a:ext cx="4290634" cy="1022652"/>
              </a:xfrm>
              <a:prstGeom prst="rect">
                <a:avLst/>
              </a:prstGeom>
              <a:blipFill>
                <a:blip r:embed="rId3"/>
                <a:stretch>
                  <a:fillRect l="-1565" t="-3593" r="-427" b="-10778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圖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1984" y="3429000"/>
            <a:ext cx="4998019" cy="3052124"/>
          </a:xfrm>
          <a:prstGeom prst="rect">
            <a:avLst/>
          </a:prstGeom>
        </p:spPr>
      </p:pic>
      <p:sp>
        <p:nvSpPr>
          <p:cNvPr id="8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3" name="Text Placeholder 3"/>
          <p:cNvSpPr txBox="1">
            <a:spLocks/>
          </p:cNvSpPr>
          <p:nvPr/>
        </p:nvSpPr>
        <p:spPr>
          <a:xfrm>
            <a:off x="958478" y="1691516"/>
            <a:ext cx="1266372" cy="36933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algn="l">
              <a:spcBef>
                <a:spcPts val="700"/>
              </a:spcBef>
              <a:buClr>
                <a:srgbClr val="DD8047"/>
              </a:buClr>
              <a:buSzPct val="60000"/>
              <a:defRPr/>
            </a:pPr>
            <a:r>
              <a:rPr lang="en-US" altLang="zh-TW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Fill>
                  <a:solidFill>
                    <a:srgbClr val="0E457D"/>
                  </a:solidFill>
                </a:uFill>
                <a:latin typeface="Arial" panose="020B0604020202020204" pitchFamily="34" charset="0"/>
                <a:ea typeface="+mj-ea"/>
              </a:rPr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13383357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sz="4400" dirty="0">
                <a:latin typeface="微軟正黑體" panose="020B0604030504040204" pitchFamily="34" charset="-120"/>
              </a:rPr>
              <a:t>時程規劃與配分</a:t>
            </a:r>
          </a:p>
        </p:txBody>
      </p:sp>
      <p:graphicFrame>
        <p:nvGraphicFramePr>
          <p:cNvPr id="5" name="內容版面配置區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9440859"/>
              </p:ext>
            </p:extLst>
          </p:nvPr>
        </p:nvGraphicFramePr>
        <p:xfrm>
          <a:off x="1199456" y="2060848"/>
          <a:ext cx="10009113" cy="2476872"/>
        </p:xfrm>
        <a:graphic>
          <a:graphicData uri="http://schemas.openxmlformats.org/drawingml/2006/table">
            <a:tbl>
              <a:tblPr firstRow="1"/>
              <a:tblGrid>
                <a:gridCol w="14865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568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658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2656">
                <a:tc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zh-TW" altLang="en-US" b="1" dirty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日期</a:t>
                      </a:r>
                    </a:p>
                  </a:txBody>
                  <a:tcPr anchor="ctr">
                    <a:lnL w="12700" cmpd="sng">
                      <a:solidFill>
                        <a:srgbClr val="94B6D2"/>
                      </a:solidFill>
                    </a:lnL>
                    <a:lnR w="12700" cap="flat" cmpd="sng" algn="ctr">
                      <a:solidFill>
                        <a:srgbClr val="94B6D2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94B6D2"/>
                      </a:solidFill>
                    </a:lnT>
                    <a:lnB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B6D2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zh-TW" altLang="en-US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上課內容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4B6D2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4B6D2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94B6D2"/>
                      </a:solidFill>
                    </a:lnT>
                    <a:lnB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B6D2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zh-TW" altLang="en-US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報告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4B6D2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4B6D2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94B6D2"/>
                      </a:solidFill>
                    </a:lnT>
                    <a:lnB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B6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72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2/21</a:t>
                      </a:r>
                      <a:endParaRPr lang="zh-TW" altLang="en-US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mpd="sng">
                      <a:solidFill>
                        <a:srgbClr val="94B6D2"/>
                      </a:solidFill>
                    </a:lnL>
                    <a:lnR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94B6D2"/>
                      </a:solidFill>
                    </a:lnT>
                    <a:lnB w="12700" cmpd="sng">
                      <a:solidFill>
                        <a:srgbClr val="94B6D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b="1" dirty="0">
                          <a:latin typeface="微軟正黑體" panose="020B0604030504040204" pitchFamily="34" charset="-120"/>
                          <a:ea typeface="+mn-ea"/>
                        </a:rPr>
                        <a:t>專題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+mn-ea"/>
                        </a:rPr>
                        <a:t>(</a:t>
                      </a:r>
                      <a:r>
                        <a:rPr lang="zh-TW" altLang="en-US" b="1" dirty="0">
                          <a:latin typeface="微軟正黑體" panose="020B0604030504040204" pitchFamily="34" charset="-120"/>
                          <a:ea typeface="+mn-ea"/>
                        </a:rPr>
                        <a:t>二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+mn-ea"/>
                        </a:rPr>
                        <a:t>)</a:t>
                      </a:r>
                      <a:endParaRPr lang="zh-TW" altLang="en-US" b="1" dirty="0">
                        <a:latin typeface="微軟正黑體" panose="020B0604030504040204" pitchFamily="34" charset="-120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94B6D2"/>
                      </a:solidFill>
                    </a:lnT>
                    <a:lnB w="12700" cmpd="sng">
                      <a:solidFill>
                        <a:srgbClr val="94B6D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TW" sz="1800" b="1" dirty="0">
                        <a:latin typeface="微軟正黑體" panose="020B0604030504040204" pitchFamily="34" charset="-120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94B6D2"/>
                      </a:solidFill>
                    </a:lnT>
                    <a:lnB w="12700" cmpd="sng">
                      <a:solidFill>
                        <a:srgbClr val="94B6D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8072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2/28</a:t>
                      </a:r>
                      <a:endParaRPr lang="zh-TW" altLang="en-US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mpd="sng">
                      <a:solidFill>
                        <a:srgbClr val="94B6D2"/>
                      </a:solidFill>
                    </a:lnL>
                    <a:lnR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94B6D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b="1" dirty="0">
                          <a:latin typeface="微軟正黑體" panose="020B0604030504040204" pitchFamily="34" charset="-120"/>
                          <a:ea typeface="+mn-ea"/>
                        </a:rPr>
                        <a:t>專題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+mn-ea"/>
                        </a:rPr>
                        <a:t>(</a:t>
                      </a:r>
                      <a:r>
                        <a:rPr lang="zh-TW" altLang="en-US" b="1" dirty="0">
                          <a:latin typeface="微軟正黑體" panose="020B0604030504040204" pitchFamily="34" charset="-120"/>
                          <a:ea typeface="+mn-ea"/>
                        </a:rPr>
                        <a:t>二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+mn-ea"/>
                        </a:rPr>
                        <a:t>)</a:t>
                      </a:r>
                      <a:endParaRPr lang="zh-TW" altLang="en-US" b="1" dirty="0">
                        <a:latin typeface="微軟正黑體" panose="020B0604030504040204" pitchFamily="34" charset="-120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94B6D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zh-TW" altLang="en-US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94B6D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5358163"/>
                  </a:ext>
                </a:extLst>
              </a:tr>
              <a:tr h="648072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/4</a:t>
                      </a:r>
                      <a:endParaRPr lang="zh-TW" altLang="en-US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mpd="sng">
                      <a:solidFill>
                        <a:srgbClr val="94B6D2"/>
                      </a:solidFill>
                    </a:lnL>
                    <a:lnR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94B6D2"/>
                      </a:solidFill>
                    </a:lnT>
                    <a:lnB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b="1" dirty="0">
                          <a:latin typeface="微軟正黑體" panose="020B0604030504040204" pitchFamily="34" charset="-120"/>
                          <a:ea typeface="+mn-ea"/>
                        </a:rPr>
                        <a:t>專題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+mn-ea"/>
                        </a:rPr>
                        <a:t>(</a:t>
                      </a:r>
                      <a:r>
                        <a:rPr lang="zh-TW" altLang="en-US" b="1" dirty="0">
                          <a:latin typeface="微軟正黑體" panose="020B0604030504040204" pitchFamily="34" charset="-120"/>
                          <a:ea typeface="+mn-ea"/>
                        </a:rPr>
                        <a:t>二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+mn-ea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94B6D2"/>
                      </a:solidFill>
                    </a:lnT>
                    <a:lnB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800" b="1" dirty="0">
                          <a:solidFill>
                            <a:srgbClr val="0070C0"/>
                          </a:solidFill>
                          <a:latin typeface="Carlito"/>
                          <a:cs typeface="Carlito"/>
                        </a:rPr>
                        <a:t>專題二繳交</a:t>
                      </a:r>
                      <a:r>
                        <a:rPr lang="en-US" altLang="zh-TW" sz="1800" b="1" dirty="0">
                          <a:solidFill>
                            <a:srgbClr val="0070C0"/>
                          </a:solidFill>
                          <a:latin typeface="Carlito"/>
                          <a:cs typeface="Carlito"/>
                        </a:rPr>
                        <a:t>(1/11</a:t>
                      </a:r>
                      <a:r>
                        <a:rPr lang="zh-TW" altLang="en-US" sz="1800" b="1" baseline="0" dirty="0">
                          <a:solidFill>
                            <a:srgbClr val="0070C0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lang="en-US" altLang="zh-TW" sz="1800" b="1" baseline="0" dirty="0">
                          <a:solidFill>
                            <a:srgbClr val="0070C0"/>
                          </a:solidFill>
                          <a:latin typeface="Carlito"/>
                          <a:cs typeface="Carlito"/>
                        </a:rPr>
                        <a:t>17:00</a:t>
                      </a:r>
                      <a:r>
                        <a:rPr lang="zh-TW" altLang="en-US" sz="1800" b="1" dirty="0">
                          <a:solidFill>
                            <a:srgbClr val="0070C0"/>
                          </a:solidFill>
                          <a:latin typeface="Carlito"/>
                          <a:cs typeface="Carlito"/>
                        </a:rPr>
                        <a:t>前</a:t>
                      </a:r>
                      <a:r>
                        <a:rPr lang="en-US" altLang="zh-TW" sz="1800" b="1" dirty="0">
                          <a:solidFill>
                            <a:srgbClr val="0070C0"/>
                          </a:solidFill>
                          <a:latin typeface="Carlito"/>
                          <a:cs typeface="Carlito"/>
                        </a:rPr>
                        <a:t>)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94B6D2"/>
                      </a:solidFill>
                    </a:lnT>
                    <a:lnB w="12700" cap="flat" cmpd="sng" algn="ctr">
                      <a:solidFill>
                        <a:srgbClr val="94B6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1799834"/>
                  </a:ext>
                </a:extLst>
              </a:tr>
            </a:tbl>
          </a:graphicData>
        </a:graphic>
      </p:graphicFrame>
      <p:sp>
        <p:nvSpPr>
          <p:cNvPr id="6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58331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Signal Processing</a:t>
            </a:r>
            <a:endParaRPr lang="zh-TW" altLang="en-US" dirty="0"/>
          </a:p>
        </p:txBody>
      </p:sp>
      <p:sp>
        <p:nvSpPr>
          <p:cNvPr id="4" name="Text Placeholder 3"/>
          <p:cNvSpPr txBox="1">
            <a:spLocks/>
          </p:cNvSpPr>
          <p:nvPr/>
        </p:nvSpPr>
        <p:spPr>
          <a:xfrm>
            <a:off x="1683251" y="1746242"/>
            <a:ext cx="5371663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Facebook of IEEE signal processing society</a:t>
            </a:r>
          </a:p>
        </p:txBody>
      </p:sp>
      <p:sp>
        <p:nvSpPr>
          <p:cNvPr id="5" name="Oval 77"/>
          <p:cNvSpPr>
            <a:spLocks noChangeArrowheads="1"/>
          </p:cNvSpPr>
          <p:nvPr/>
        </p:nvSpPr>
        <p:spPr bwMode="auto">
          <a:xfrm>
            <a:off x="1007630" y="1751348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1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1683251" y="2924944"/>
            <a:ext cx="3161122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What is signal processing</a:t>
            </a:r>
          </a:p>
        </p:txBody>
      </p:sp>
      <p:sp>
        <p:nvSpPr>
          <p:cNvPr id="7" name="Oval 77"/>
          <p:cNvSpPr>
            <a:spLocks noChangeArrowheads="1"/>
          </p:cNvSpPr>
          <p:nvPr/>
        </p:nvSpPr>
        <p:spPr bwMode="auto">
          <a:xfrm>
            <a:off x="1007630" y="2930050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2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8" name="Freeform 359"/>
          <p:cNvSpPr>
            <a:spLocks noChangeAspect="1"/>
          </p:cNvSpPr>
          <p:nvPr/>
        </p:nvSpPr>
        <p:spPr>
          <a:xfrm>
            <a:off x="1271464" y="2284662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 Placeholder 3">
            <a:hlinkClick r:id="rId2"/>
          </p:cNvPr>
          <p:cNvSpPr txBox="1">
            <a:spLocks/>
          </p:cNvSpPr>
          <p:nvPr/>
        </p:nvSpPr>
        <p:spPr>
          <a:xfrm>
            <a:off x="1740246" y="2276872"/>
            <a:ext cx="4046236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u="sng" dirty="0">
                <a:solidFill>
                  <a:srgbClr val="0000FF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https://www.facebook.com/ieeeSPS</a:t>
            </a:r>
          </a:p>
        </p:txBody>
      </p:sp>
      <p:sp>
        <p:nvSpPr>
          <p:cNvPr id="10" name="Freeform 359"/>
          <p:cNvSpPr>
            <a:spLocks noChangeAspect="1"/>
          </p:cNvSpPr>
          <p:nvPr/>
        </p:nvSpPr>
        <p:spPr>
          <a:xfrm>
            <a:off x="1271464" y="3472794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 Placeholder 3">
            <a:hlinkClick r:id="rId3"/>
          </p:cNvPr>
          <p:cNvSpPr txBox="1">
            <a:spLocks/>
          </p:cNvSpPr>
          <p:nvPr/>
        </p:nvSpPr>
        <p:spPr>
          <a:xfrm>
            <a:off x="1740246" y="3465004"/>
            <a:ext cx="3529812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u="sng" dirty="0">
                <a:solidFill>
                  <a:srgbClr val="0000FF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https://youtu.be/EErkgr1MWw0</a:t>
            </a:r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1683251" y="4113076"/>
            <a:ext cx="883255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Review</a:t>
            </a:r>
          </a:p>
        </p:txBody>
      </p:sp>
      <p:sp>
        <p:nvSpPr>
          <p:cNvPr id="13" name="Oval 77"/>
          <p:cNvSpPr>
            <a:spLocks noChangeArrowheads="1"/>
          </p:cNvSpPr>
          <p:nvPr/>
        </p:nvSpPr>
        <p:spPr bwMode="auto">
          <a:xfrm>
            <a:off x="1007630" y="4118182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3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14" name="Freeform 359"/>
          <p:cNvSpPr>
            <a:spLocks noChangeAspect="1"/>
          </p:cNvSpPr>
          <p:nvPr/>
        </p:nvSpPr>
        <p:spPr>
          <a:xfrm>
            <a:off x="1271464" y="4660926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1740246" y="4653136"/>
            <a:ext cx="6202019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Digital audio/Speech signal processing (a typical case)</a:t>
            </a:r>
          </a:p>
        </p:txBody>
      </p:sp>
      <p:sp>
        <p:nvSpPr>
          <p:cNvPr id="16" name="Freeform 359"/>
          <p:cNvSpPr>
            <a:spLocks noChangeAspect="1"/>
          </p:cNvSpPr>
          <p:nvPr/>
        </p:nvSpPr>
        <p:spPr>
          <a:xfrm>
            <a:off x="1271464" y="5208776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 Placeholder 3"/>
          <p:cNvSpPr txBox="1">
            <a:spLocks/>
          </p:cNvSpPr>
          <p:nvPr/>
        </p:nvSpPr>
        <p:spPr>
          <a:xfrm>
            <a:off x="1740246" y="5200986"/>
            <a:ext cx="1950855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 err="1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Matlab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 (6 weeks)</a:t>
            </a:r>
          </a:p>
        </p:txBody>
      </p:sp>
      <p:sp>
        <p:nvSpPr>
          <p:cNvPr id="18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6415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Some cool products/projects (1/4)</a:t>
            </a:r>
            <a:endParaRPr lang="zh-TW" altLang="en-US" dirty="0"/>
          </a:p>
        </p:txBody>
      </p:sp>
      <p:sp>
        <p:nvSpPr>
          <p:cNvPr id="4" name="Text Placeholder 3">
            <a:hlinkClick r:id="rId2"/>
          </p:cNvPr>
          <p:cNvSpPr txBox="1">
            <a:spLocks/>
          </p:cNvSpPr>
          <p:nvPr/>
        </p:nvSpPr>
        <p:spPr>
          <a:xfrm>
            <a:off x="1649787" y="3078321"/>
            <a:ext cx="4301114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00099"/>
                </a:solidFill>
                <a:latin typeface="Arial" panose="020B0604020202020204"/>
                <a:ea typeface="微軟正黑體" panose="020B0604030504040204" pitchFamily="34" charset="-120"/>
                <a:hlinkClick r:id="rId3"/>
              </a:rPr>
              <a:t>"Man vs Robot" in playing Angry Birds</a:t>
            </a:r>
            <a:endParaRPr kumimoji="0" lang="en-US" altLang="zh-TW" sz="2000" dirty="0">
              <a:solidFill>
                <a:srgbClr val="000099"/>
              </a:solidFill>
              <a:latin typeface="Arial" panose="020B0604020202020204"/>
              <a:ea typeface="微軟正黑體" panose="020B0604030504040204" pitchFamily="34" charset="-120"/>
            </a:endParaRPr>
          </a:p>
        </p:txBody>
      </p:sp>
      <p:sp>
        <p:nvSpPr>
          <p:cNvPr id="5" name="Text Placeholder 3">
            <a:hlinkClick r:id="rId4"/>
          </p:cNvPr>
          <p:cNvSpPr txBox="1">
            <a:spLocks/>
          </p:cNvSpPr>
          <p:nvPr/>
        </p:nvSpPr>
        <p:spPr>
          <a:xfrm>
            <a:off x="1649787" y="1844824"/>
            <a:ext cx="2308324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zh-TW" altLang="en-US" sz="2000" dirty="0">
                <a:solidFill>
                  <a:srgbClr val="000099"/>
                </a:solidFill>
                <a:latin typeface="Arial" panose="020B0604020202020204" pitchFamily="34" charset="0"/>
                <a:ea typeface="微軟正黑體" panose="020B0604030504040204" pitchFamily="34" charset="-120"/>
                <a:hlinkClick r:id="rId4"/>
              </a:rPr>
              <a:t>藍芽無線頭巾式耳機</a:t>
            </a:r>
            <a:endParaRPr lang="en-US" altLang="zh-TW" sz="2000" dirty="0">
              <a:solidFill>
                <a:srgbClr val="000099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1649787" y="2482177"/>
            <a:ext cx="2308324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00099"/>
                </a:solidFill>
                <a:latin typeface="Arial" panose="020B0604020202020204"/>
                <a:ea typeface="微軟正黑體" panose="020B0604030504040204" pitchFamily="34" charset="-120"/>
                <a:hlinkClick r:id="rId5"/>
              </a:rPr>
              <a:t>微型無線樂器麥克風</a:t>
            </a:r>
            <a:endParaRPr kumimoji="0" lang="en-US" altLang="zh-TW" sz="2000" dirty="0">
              <a:solidFill>
                <a:srgbClr val="000099"/>
              </a:solidFill>
              <a:latin typeface="Arial" panose="020B0604020202020204"/>
              <a:ea typeface="微軟正黑體" panose="020B0604030504040204" pitchFamily="34" charset="-120"/>
            </a:endParaRPr>
          </a:p>
        </p:txBody>
      </p:sp>
      <p:sp>
        <p:nvSpPr>
          <p:cNvPr id="7" name="Text Placeholder 3">
            <a:hlinkClick r:id="rId6"/>
          </p:cNvPr>
          <p:cNvSpPr txBox="1">
            <a:spLocks/>
          </p:cNvSpPr>
          <p:nvPr/>
        </p:nvSpPr>
        <p:spPr>
          <a:xfrm>
            <a:off x="1659053" y="3724909"/>
            <a:ext cx="4293419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en-US" altLang="zh-TW" sz="2000" u="sng" dirty="0">
                <a:solidFill>
                  <a:srgbClr val="000099"/>
                </a:solidFill>
                <a:latin typeface="Arial" panose="020B0604020202020204" pitchFamily="34" charset="0"/>
                <a:ea typeface="微軟正黑體" panose="020B0604030504040204" pitchFamily="34" charset="-120"/>
                <a:hlinkClick r:id="rId6"/>
              </a:rPr>
              <a:t>SILENT PARTNER</a:t>
            </a:r>
            <a:r>
              <a:rPr lang="zh-TW" altLang="en-US" sz="2000" u="sng" dirty="0">
                <a:solidFill>
                  <a:srgbClr val="000099"/>
                </a:solidFill>
                <a:latin typeface="Arial" panose="020B0604020202020204" pitchFamily="34" charset="0"/>
                <a:ea typeface="微軟正黑體" panose="020B0604030504040204" pitchFamily="34" charset="-120"/>
                <a:hlinkClick r:id="rId6"/>
              </a:rPr>
              <a:t> 消除打呼聲的眼罩</a:t>
            </a:r>
            <a:endParaRPr lang="en-US" altLang="zh-TW" sz="2000" u="sng" dirty="0">
              <a:solidFill>
                <a:srgbClr val="000099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8" name="群組 7"/>
          <p:cNvGrpSpPr/>
          <p:nvPr/>
        </p:nvGrpSpPr>
        <p:grpSpPr>
          <a:xfrm>
            <a:off x="983432" y="2475858"/>
            <a:ext cx="504056" cy="407471"/>
            <a:chOff x="983432" y="2465210"/>
            <a:chExt cx="504056" cy="407471"/>
          </a:xfrm>
        </p:grpSpPr>
        <p:sp>
          <p:nvSpPr>
            <p:cNvPr id="9" name="Oval 77"/>
            <p:cNvSpPr>
              <a:spLocks noChangeArrowheads="1"/>
            </p:cNvSpPr>
            <p:nvPr/>
          </p:nvSpPr>
          <p:spPr bwMode="auto">
            <a:xfrm>
              <a:off x="983432" y="2465210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文字方塊 9"/>
            <p:cNvSpPr txBox="1"/>
            <p:nvPr/>
          </p:nvSpPr>
          <p:spPr>
            <a:xfrm>
              <a:off x="1127448" y="2564904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2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11" name="群組 10"/>
          <p:cNvGrpSpPr/>
          <p:nvPr/>
        </p:nvGrpSpPr>
        <p:grpSpPr>
          <a:xfrm>
            <a:off x="983432" y="3106892"/>
            <a:ext cx="486519" cy="404721"/>
            <a:chOff x="983432" y="3085596"/>
            <a:chExt cx="486519" cy="404721"/>
          </a:xfrm>
        </p:grpSpPr>
        <p:sp>
          <p:nvSpPr>
            <p:cNvPr id="12" name="Oval 77"/>
            <p:cNvSpPr>
              <a:spLocks noChangeArrowheads="1"/>
            </p:cNvSpPr>
            <p:nvPr/>
          </p:nvSpPr>
          <p:spPr bwMode="auto">
            <a:xfrm>
              <a:off x="983432" y="3085596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文字方塊 12"/>
            <p:cNvSpPr txBox="1"/>
            <p:nvPr/>
          </p:nvSpPr>
          <p:spPr>
            <a:xfrm>
              <a:off x="1109911" y="3182540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3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14" name="群組 13"/>
          <p:cNvGrpSpPr/>
          <p:nvPr/>
        </p:nvGrpSpPr>
        <p:grpSpPr>
          <a:xfrm>
            <a:off x="983432" y="3735176"/>
            <a:ext cx="486519" cy="401971"/>
            <a:chOff x="983432" y="3705982"/>
            <a:chExt cx="486519" cy="401971"/>
          </a:xfrm>
        </p:grpSpPr>
        <p:sp>
          <p:nvSpPr>
            <p:cNvPr id="15" name="Oval 77"/>
            <p:cNvSpPr>
              <a:spLocks noChangeArrowheads="1"/>
            </p:cNvSpPr>
            <p:nvPr/>
          </p:nvSpPr>
          <p:spPr bwMode="auto">
            <a:xfrm>
              <a:off x="983432" y="3705982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文字方塊 15"/>
            <p:cNvSpPr txBox="1"/>
            <p:nvPr/>
          </p:nvSpPr>
          <p:spPr>
            <a:xfrm>
              <a:off x="1109911" y="3800176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4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17" name="群組 16"/>
          <p:cNvGrpSpPr/>
          <p:nvPr/>
        </p:nvGrpSpPr>
        <p:grpSpPr>
          <a:xfrm>
            <a:off x="983432" y="1844824"/>
            <a:ext cx="488625" cy="407471"/>
            <a:chOff x="983432" y="1844824"/>
            <a:chExt cx="488625" cy="407471"/>
          </a:xfrm>
        </p:grpSpPr>
        <p:sp>
          <p:nvSpPr>
            <p:cNvPr id="18" name="Oval 77"/>
            <p:cNvSpPr>
              <a:spLocks noChangeArrowheads="1"/>
            </p:cNvSpPr>
            <p:nvPr/>
          </p:nvSpPr>
          <p:spPr bwMode="auto">
            <a:xfrm>
              <a:off x="983432" y="1844824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文字方塊 18"/>
            <p:cNvSpPr txBox="1"/>
            <p:nvPr/>
          </p:nvSpPr>
          <p:spPr>
            <a:xfrm>
              <a:off x="1112017" y="1944518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1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sp>
        <p:nvSpPr>
          <p:cNvPr id="20" name="Text Placeholder 3">
            <a:hlinkClick r:id="rId6"/>
          </p:cNvPr>
          <p:cNvSpPr txBox="1">
            <a:spLocks/>
          </p:cNvSpPr>
          <p:nvPr/>
        </p:nvSpPr>
        <p:spPr>
          <a:xfrm>
            <a:off x="1659053" y="4353306"/>
            <a:ext cx="2022990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en-US" altLang="zh-TW" sz="2000" u="sng" dirty="0">
                <a:solidFill>
                  <a:srgbClr val="000099"/>
                </a:solidFill>
                <a:latin typeface="Arial" panose="020B0604020202020204" pitchFamily="34" charset="0"/>
                <a:ea typeface="微軟正黑體" panose="020B0604030504040204" pitchFamily="34" charset="-120"/>
                <a:hlinkClick r:id="rId7"/>
              </a:rPr>
              <a:t>Spear X </a:t>
            </a:r>
            <a:r>
              <a:rPr lang="zh-TW" altLang="en-US" sz="2000" u="sng" dirty="0">
                <a:solidFill>
                  <a:srgbClr val="000099"/>
                </a:solidFill>
                <a:latin typeface="Arial" panose="020B0604020202020204" pitchFamily="34" charset="0"/>
                <a:ea typeface="微軟正黑體" panose="020B0604030504040204" pitchFamily="34" charset="-120"/>
                <a:hlinkClick r:id="rId7"/>
              </a:rPr>
              <a:t>聲特耳機</a:t>
            </a:r>
            <a:endParaRPr lang="zh-TW" altLang="en-US" sz="2000" u="sng" dirty="0">
              <a:solidFill>
                <a:srgbClr val="000099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21" name="群組 20"/>
          <p:cNvGrpSpPr/>
          <p:nvPr/>
        </p:nvGrpSpPr>
        <p:grpSpPr>
          <a:xfrm>
            <a:off x="983432" y="4360710"/>
            <a:ext cx="486519" cy="401971"/>
            <a:chOff x="983432" y="3705982"/>
            <a:chExt cx="486519" cy="401971"/>
          </a:xfrm>
        </p:grpSpPr>
        <p:sp>
          <p:nvSpPr>
            <p:cNvPr id="22" name="Oval 77"/>
            <p:cNvSpPr>
              <a:spLocks noChangeArrowheads="1"/>
            </p:cNvSpPr>
            <p:nvPr/>
          </p:nvSpPr>
          <p:spPr bwMode="auto">
            <a:xfrm>
              <a:off x="983432" y="3705982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文字方塊 22"/>
            <p:cNvSpPr txBox="1"/>
            <p:nvPr/>
          </p:nvSpPr>
          <p:spPr>
            <a:xfrm>
              <a:off x="1109911" y="3800176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5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sp>
        <p:nvSpPr>
          <p:cNvPr id="24" name="Text Placeholder 3">
            <a:hlinkClick r:id="rId8"/>
          </p:cNvPr>
          <p:cNvSpPr txBox="1">
            <a:spLocks/>
          </p:cNvSpPr>
          <p:nvPr/>
        </p:nvSpPr>
        <p:spPr>
          <a:xfrm>
            <a:off x="1649787" y="5004251"/>
            <a:ext cx="2917658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en-US" altLang="zh-TW" sz="2000" u="sng" dirty="0">
                <a:solidFill>
                  <a:srgbClr val="000099"/>
                </a:solidFill>
                <a:latin typeface="Arial" panose="020B0604020202020204" pitchFamily="34" charset="0"/>
                <a:ea typeface="微軟正黑體" panose="020B0604030504040204" pitchFamily="34" charset="-120"/>
                <a:hlinkClick r:id="rId9"/>
              </a:rPr>
              <a:t>MEATER</a:t>
            </a:r>
            <a:r>
              <a:rPr lang="zh-TW" altLang="en-US" sz="2000" u="sng" dirty="0">
                <a:solidFill>
                  <a:srgbClr val="000099"/>
                </a:solidFill>
                <a:latin typeface="Arial" panose="020B0604020202020204" pitchFamily="34" charset="0"/>
                <a:ea typeface="微軟正黑體" panose="020B0604030504040204" pitchFamily="34" charset="-120"/>
                <a:hlinkClick r:id="rId9"/>
              </a:rPr>
              <a:t> 無線智能溫度計</a:t>
            </a:r>
            <a:endParaRPr lang="zh-TW" altLang="en-US" sz="2000" u="sng" dirty="0">
              <a:solidFill>
                <a:srgbClr val="000099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25" name="群組 24"/>
          <p:cNvGrpSpPr/>
          <p:nvPr/>
        </p:nvGrpSpPr>
        <p:grpSpPr>
          <a:xfrm>
            <a:off x="1008517" y="4986244"/>
            <a:ext cx="486519" cy="401971"/>
            <a:chOff x="983432" y="3705982"/>
            <a:chExt cx="486519" cy="401971"/>
          </a:xfrm>
        </p:grpSpPr>
        <p:sp>
          <p:nvSpPr>
            <p:cNvPr id="26" name="Oval 77"/>
            <p:cNvSpPr>
              <a:spLocks noChangeArrowheads="1"/>
            </p:cNvSpPr>
            <p:nvPr/>
          </p:nvSpPr>
          <p:spPr bwMode="auto">
            <a:xfrm>
              <a:off x="983432" y="3705982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文字方塊 26"/>
            <p:cNvSpPr txBox="1"/>
            <p:nvPr/>
          </p:nvSpPr>
          <p:spPr>
            <a:xfrm>
              <a:off x="1109911" y="3800176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6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sp>
        <p:nvSpPr>
          <p:cNvPr id="28" name="Text Placeholder 3">
            <a:hlinkClick r:id="rId10"/>
          </p:cNvPr>
          <p:cNvSpPr txBox="1">
            <a:spLocks/>
          </p:cNvSpPr>
          <p:nvPr/>
        </p:nvSpPr>
        <p:spPr>
          <a:xfrm>
            <a:off x="1659053" y="5611778"/>
            <a:ext cx="6383414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en-US" altLang="zh-TW" sz="2000" u="sng" dirty="0">
                <a:solidFill>
                  <a:srgbClr val="000099"/>
                </a:solidFill>
                <a:latin typeface="Arial" panose="020B0604020202020204" pitchFamily="34" charset="0"/>
                <a:ea typeface="微軟正黑體" panose="020B0604030504040204" pitchFamily="34" charset="-120"/>
                <a:hlinkClick r:id="rId11"/>
              </a:rPr>
              <a:t>Adobe Project </a:t>
            </a:r>
            <a:r>
              <a:rPr lang="en-US" altLang="zh-TW" sz="2000" u="sng" dirty="0" err="1">
                <a:solidFill>
                  <a:srgbClr val="000099"/>
                </a:solidFill>
                <a:latin typeface="Arial" panose="020B0604020202020204" pitchFamily="34" charset="0"/>
                <a:ea typeface="微軟正黑體" panose="020B0604030504040204" pitchFamily="34" charset="-120"/>
                <a:hlinkClick r:id="rId11"/>
              </a:rPr>
              <a:t>VoCo</a:t>
            </a:r>
            <a:r>
              <a:rPr lang="en-US" altLang="zh-TW" sz="2000" u="sng" dirty="0">
                <a:solidFill>
                  <a:srgbClr val="000099"/>
                </a:solidFill>
                <a:latin typeface="Arial" panose="020B0604020202020204" pitchFamily="34" charset="0"/>
                <a:ea typeface="微軟正黑體" panose="020B0604030504040204" pitchFamily="34" charset="-120"/>
                <a:hlinkClick r:id="rId11"/>
              </a:rPr>
              <a:t> - </a:t>
            </a:r>
            <a:r>
              <a:rPr lang="zh-TW" altLang="en-US" sz="2000" u="sng" dirty="0">
                <a:solidFill>
                  <a:srgbClr val="000099"/>
                </a:solidFill>
                <a:latin typeface="Arial" panose="020B0604020202020204" pitchFamily="34" charset="0"/>
                <a:ea typeface="微軟正黑體" panose="020B0604030504040204" pitchFamily="34" charset="-120"/>
                <a:hlinkClick r:id="rId11"/>
              </a:rPr>
              <a:t>音檔不用重新錄製就能增加新句子</a:t>
            </a:r>
            <a:endParaRPr lang="en-US" altLang="zh-TW" sz="2000" u="sng" dirty="0">
              <a:solidFill>
                <a:srgbClr val="000099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29" name="群組 28"/>
          <p:cNvGrpSpPr/>
          <p:nvPr/>
        </p:nvGrpSpPr>
        <p:grpSpPr>
          <a:xfrm>
            <a:off x="1008517" y="5611778"/>
            <a:ext cx="486519" cy="401971"/>
            <a:chOff x="983432" y="3705982"/>
            <a:chExt cx="486519" cy="401971"/>
          </a:xfrm>
        </p:grpSpPr>
        <p:sp>
          <p:nvSpPr>
            <p:cNvPr id="30" name="Oval 77"/>
            <p:cNvSpPr>
              <a:spLocks noChangeArrowheads="1"/>
            </p:cNvSpPr>
            <p:nvPr/>
          </p:nvSpPr>
          <p:spPr bwMode="auto">
            <a:xfrm>
              <a:off x="983432" y="3705982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文字方塊 30"/>
            <p:cNvSpPr txBox="1"/>
            <p:nvPr/>
          </p:nvSpPr>
          <p:spPr>
            <a:xfrm>
              <a:off x="1109911" y="3800176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7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sp>
        <p:nvSpPr>
          <p:cNvPr id="32" name="Text Placeholder 3">
            <a:hlinkClick r:id="rId12"/>
          </p:cNvPr>
          <p:cNvSpPr txBox="1">
            <a:spLocks/>
          </p:cNvSpPr>
          <p:nvPr/>
        </p:nvSpPr>
        <p:spPr>
          <a:xfrm>
            <a:off x="1684138" y="6238496"/>
            <a:ext cx="3462807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en-US" altLang="zh-TW" sz="2000" dirty="0">
                <a:solidFill>
                  <a:srgbClr val="000099"/>
                </a:solidFill>
                <a:latin typeface="Arial" panose="020B0604020202020204" pitchFamily="34" charset="0"/>
                <a:ea typeface="微軟正黑體" panose="020B0604030504040204" pitchFamily="34" charset="-120"/>
                <a:hlinkClick r:id="rId12"/>
              </a:rPr>
              <a:t>Speech Translation (</a:t>
            </a:r>
            <a:r>
              <a:rPr lang="zh-TW" altLang="en-US" sz="2000" dirty="0">
                <a:solidFill>
                  <a:srgbClr val="000099"/>
                </a:solidFill>
                <a:latin typeface="Arial" panose="020B0604020202020204" pitchFamily="34" charset="0"/>
                <a:ea typeface="微軟正黑體" panose="020B0604030504040204" pitchFamily="34" charset="-120"/>
                <a:hlinkClick r:id="rId12"/>
              </a:rPr>
              <a:t>翻譯米糕</a:t>
            </a:r>
            <a:r>
              <a:rPr lang="en-US" altLang="zh-TW" sz="2000" dirty="0">
                <a:solidFill>
                  <a:srgbClr val="000099"/>
                </a:solidFill>
                <a:latin typeface="Arial" panose="020B0604020202020204" pitchFamily="34" charset="0"/>
                <a:ea typeface="微軟正黑體" panose="020B0604030504040204" pitchFamily="34" charset="-120"/>
                <a:hlinkClick r:id="rId12"/>
              </a:rPr>
              <a:t>)</a:t>
            </a:r>
            <a:endParaRPr lang="en-US" altLang="zh-TW" sz="2000" dirty="0">
              <a:solidFill>
                <a:srgbClr val="000099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33" name="群組 32"/>
          <p:cNvGrpSpPr/>
          <p:nvPr/>
        </p:nvGrpSpPr>
        <p:grpSpPr>
          <a:xfrm>
            <a:off x="1008517" y="6237312"/>
            <a:ext cx="486519" cy="401971"/>
            <a:chOff x="983432" y="3705982"/>
            <a:chExt cx="486519" cy="401971"/>
          </a:xfrm>
        </p:grpSpPr>
        <p:sp>
          <p:nvSpPr>
            <p:cNvPr id="34" name="Oval 77"/>
            <p:cNvSpPr>
              <a:spLocks noChangeArrowheads="1"/>
            </p:cNvSpPr>
            <p:nvPr/>
          </p:nvSpPr>
          <p:spPr bwMode="auto">
            <a:xfrm>
              <a:off x="983432" y="3705982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文字方塊 34"/>
            <p:cNvSpPr txBox="1"/>
            <p:nvPr/>
          </p:nvSpPr>
          <p:spPr>
            <a:xfrm>
              <a:off x="1109911" y="3800176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8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sp>
        <p:nvSpPr>
          <p:cNvPr id="36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2490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545452" y="3647880"/>
            <a:ext cx="1962457" cy="1317564"/>
          </a:xfrm>
          <a:prstGeom prst="rect">
            <a:avLst/>
          </a:prstGeom>
        </p:spPr>
      </p:pic>
      <p:sp>
        <p:nvSpPr>
          <p:cNvPr id="3" name="標題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/>
              <a:t>Some cool products/projects (2/4) </a:t>
            </a:r>
            <a:endParaRPr lang="zh-TW" altLang="en-US" dirty="0"/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9729236"/>
              </p:ext>
            </p:extLst>
          </p:nvPr>
        </p:nvGraphicFramePr>
        <p:xfrm>
          <a:off x="1775520" y="1628800"/>
          <a:ext cx="8732388" cy="50376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7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81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81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81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812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0981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TW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Clean speech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Noise: 2baby Cry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Noise: Sir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zh-TW" altLang="en-US" sz="1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55254">
                <a:tc vMerge="1">
                  <a:txBody>
                    <a:bodyPr/>
                    <a:lstStyle/>
                    <a:p>
                      <a:pPr algn="ctr"/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9898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TW" sz="1400" b="1" dirty="0">
                          <a:solidFill>
                            <a:schemeClr val="tx1"/>
                          </a:solidFill>
                        </a:rPr>
                        <a:t>2baby</a:t>
                      </a:r>
                    </a:p>
                    <a:p>
                      <a:pPr algn="ctr"/>
                      <a:r>
                        <a:rPr lang="en-US" altLang="zh-TW" sz="1400" b="1" dirty="0">
                          <a:solidFill>
                            <a:schemeClr val="tx1"/>
                          </a:solidFill>
                        </a:rPr>
                        <a:t>Crying</a:t>
                      </a:r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Original Nois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MMSE</a:t>
                      </a:r>
                      <a:r>
                        <a:rPr lang="en-US" altLang="zh-TW" sz="1400" b="1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(Trandtional-1)</a:t>
                      </a:r>
                      <a:endParaRPr lang="en-US" altLang="zh-TW" sz="1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KLT </a:t>
                      </a:r>
                      <a:r>
                        <a:rPr lang="en-US" altLang="zh-TW" sz="1400" b="1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(Trandtional-2)</a:t>
                      </a:r>
                      <a:endParaRPr lang="en-US" altLang="zh-TW" sz="1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DAE</a:t>
                      </a:r>
                      <a:endParaRPr lang="zh-TW" altLang="en-US" sz="1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55254">
                <a:tc vMerge="1">
                  <a:txBody>
                    <a:bodyPr/>
                    <a:lstStyle/>
                    <a:p>
                      <a:pPr algn="ctr"/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0981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TW" sz="1400" b="1" dirty="0">
                          <a:solidFill>
                            <a:schemeClr val="tx1"/>
                          </a:solidFill>
                        </a:rPr>
                        <a:t>Siren</a:t>
                      </a:r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Original Nois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MMSE</a:t>
                      </a:r>
                      <a:r>
                        <a:rPr lang="en-US" altLang="zh-TW" sz="1400" b="1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(Trandtional-1)</a:t>
                      </a:r>
                      <a:endParaRPr lang="en-US" altLang="zh-TW" sz="1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KLT </a:t>
                      </a:r>
                      <a:r>
                        <a:rPr lang="en-US" altLang="zh-TW" sz="1400" b="1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(Trandtional-2)</a:t>
                      </a:r>
                      <a:endParaRPr lang="en-US" altLang="zh-TW" sz="1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DAE</a:t>
                      </a:r>
                      <a:endParaRPr lang="zh-TW" altLang="en-US" sz="1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55254">
                <a:tc vMerge="1">
                  <a:txBody>
                    <a:bodyPr/>
                    <a:lstStyle/>
                    <a:p>
                      <a:pPr algn="ctr"/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6" name="圖片 5"/>
          <p:cNvPicPr>
            <a:picLocks/>
          </p:cNvPicPr>
          <p:nvPr/>
        </p:nvPicPr>
        <p:blipFill>
          <a:blip r:embed="rId25"/>
          <a:stretch>
            <a:fillRect/>
          </a:stretch>
        </p:blipFill>
        <p:spPr>
          <a:xfrm>
            <a:off x="6583609" y="1984400"/>
            <a:ext cx="1908000" cy="1296000"/>
          </a:xfrm>
          <a:prstGeom prst="rect">
            <a:avLst/>
          </a:prstGeom>
        </p:spPr>
      </p:pic>
      <p:pic>
        <p:nvPicPr>
          <p:cNvPr id="7" name="圖片 6"/>
          <p:cNvPicPr>
            <a:picLocks/>
          </p:cNvPicPr>
          <p:nvPr/>
        </p:nvPicPr>
        <p:blipFill>
          <a:blip r:embed="rId26"/>
          <a:stretch>
            <a:fillRect/>
          </a:stretch>
        </p:blipFill>
        <p:spPr>
          <a:xfrm>
            <a:off x="4610802" y="1971700"/>
            <a:ext cx="1908000" cy="1296000"/>
          </a:xfrm>
          <a:prstGeom prst="rect">
            <a:avLst/>
          </a:prstGeom>
        </p:spPr>
      </p:pic>
      <p:pic>
        <p:nvPicPr>
          <p:cNvPr id="8" name="圖片 7"/>
          <p:cNvPicPr>
            <a:picLocks/>
          </p:cNvPicPr>
          <p:nvPr/>
        </p:nvPicPr>
        <p:blipFill>
          <a:blip r:embed="rId27"/>
          <a:stretch>
            <a:fillRect/>
          </a:stretch>
        </p:blipFill>
        <p:spPr>
          <a:xfrm>
            <a:off x="2605441" y="1971700"/>
            <a:ext cx="1908000" cy="1296000"/>
          </a:xfrm>
          <a:prstGeom prst="rect">
            <a:avLst/>
          </a:prstGeom>
        </p:spPr>
      </p:pic>
      <p:pic>
        <p:nvPicPr>
          <p:cNvPr id="10" name="圖片 9"/>
          <p:cNvPicPr>
            <a:picLocks/>
          </p:cNvPicPr>
          <p:nvPr/>
        </p:nvPicPr>
        <p:blipFill>
          <a:blip r:embed="rId28"/>
          <a:stretch>
            <a:fillRect/>
          </a:stretch>
        </p:blipFill>
        <p:spPr>
          <a:xfrm>
            <a:off x="2618141" y="3660800"/>
            <a:ext cx="1908000" cy="1296000"/>
          </a:xfrm>
          <a:prstGeom prst="rect">
            <a:avLst/>
          </a:prstGeom>
        </p:spPr>
      </p:pic>
      <p:pic>
        <p:nvPicPr>
          <p:cNvPr id="11" name="圖片 10"/>
          <p:cNvPicPr>
            <a:picLocks/>
          </p:cNvPicPr>
          <p:nvPr/>
        </p:nvPicPr>
        <p:blipFill>
          <a:blip r:embed="rId29"/>
          <a:stretch>
            <a:fillRect/>
          </a:stretch>
        </p:blipFill>
        <p:spPr>
          <a:xfrm>
            <a:off x="4598102" y="3669444"/>
            <a:ext cx="1908000" cy="1296000"/>
          </a:xfrm>
          <a:prstGeom prst="rect">
            <a:avLst/>
          </a:prstGeom>
        </p:spPr>
      </p:pic>
      <p:pic>
        <p:nvPicPr>
          <p:cNvPr id="12" name="圖片 11"/>
          <p:cNvPicPr>
            <a:picLocks/>
          </p:cNvPicPr>
          <p:nvPr/>
        </p:nvPicPr>
        <p:blipFill>
          <a:blip r:embed="rId30"/>
          <a:stretch>
            <a:fillRect/>
          </a:stretch>
        </p:blipFill>
        <p:spPr>
          <a:xfrm>
            <a:off x="6568600" y="3671564"/>
            <a:ext cx="1908000" cy="1296000"/>
          </a:xfrm>
          <a:prstGeom prst="rect">
            <a:avLst/>
          </a:prstGeom>
        </p:spPr>
      </p:pic>
      <p:pic>
        <p:nvPicPr>
          <p:cNvPr id="13" name="圖片 12"/>
          <p:cNvPicPr>
            <a:picLocks/>
          </p:cNvPicPr>
          <p:nvPr/>
        </p:nvPicPr>
        <p:blipFill>
          <a:blip r:embed="rId31"/>
          <a:stretch>
            <a:fillRect/>
          </a:stretch>
        </p:blipFill>
        <p:spPr>
          <a:xfrm>
            <a:off x="2618141" y="5337201"/>
            <a:ext cx="1908000" cy="1296000"/>
          </a:xfrm>
          <a:prstGeom prst="rect">
            <a:avLst/>
          </a:prstGeom>
        </p:spPr>
      </p:pic>
      <p:pic>
        <p:nvPicPr>
          <p:cNvPr id="14" name="圖片 13"/>
          <p:cNvPicPr>
            <a:picLocks/>
          </p:cNvPicPr>
          <p:nvPr/>
        </p:nvPicPr>
        <p:blipFill>
          <a:blip r:embed="rId32"/>
          <a:stretch>
            <a:fillRect/>
          </a:stretch>
        </p:blipFill>
        <p:spPr>
          <a:xfrm>
            <a:off x="4603643" y="5345624"/>
            <a:ext cx="1908000" cy="1296000"/>
          </a:xfrm>
          <a:prstGeom prst="rect">
            <a:avLst/>
          </a:prstGeom>
        </p:spPr>
      </p:pic>
      <p:pic>
        <p:nvPicPr>
          <p:cNvPr id="15" name="圖片 14"/>
          <p:cNvPicPr>
            <a:picLocks/>
          </p:cNvPicPr>
          <p:nvPr/>
        </p:nvPicPr>
        <p:blipFill>
          <a:blip r:embed="rId33"/>
          <a:stretch>
            <a:fillRect/>
          </a:stretch>
        </p:blipFill>
        <p:spPr>
          <a:xfrm>
            <a:off x="6583608" y="5337201"/>
            <a:ext cx="1908000" cy="1296000"/>
          </a:xfrm>
          <a:prstGeom prst="rect">
            <a:avLst/>
          </a:prstGeom>
        </p:spPr>
      </p:pic>
      <p:pic>
        <p:nvPicPr>
          <p:cNvPr id="18" name="MHINT_16_20-N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34"/>
          <a:stretch>
            <a:fillRect/>
          </a:stretch>
        </p:blipFill>
        <p:spPr>
          <a:xfrm>
            <a:off x="4678609" y="3660581"/>
            <a:ext cx="487363" cy="487363"/>
          </a:xfrm>
          <a:prstGeom prst="rect">
            <a:avLst/>
          </a:prstGeom>
        </p:spPr>
      </p:pic>
      <p:pic>
        <p:nvPicPr>
          <p:cNvPr id="19" name="MHINT_16_20-N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34"/>
          <a:stretch>
            <a:fillRect/>
          </a:stretch>
        </p:blipFill>
        <p:spPr>
          <a:xfrm>
            <a:off x="2652979" y="3647881"/>
            <a:ext cx="487363" cy="487363"/>
          </a:xfrm>
          <a:prstGeom prst="rect">
            <a:avLst/>
          </a:prstGeom>
        </p:spPr>
      </p:pic>
      <p:pic>
        <p:nvPicPr>
          <p:cNvPr id="20" name="KLT">
            <a:hlinkClick r:id="" action="ppaction://media"/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34"/>
          <a:stretch>
            <a:fillRect/>
          </a:stretch>
        </p:blipFill>
        <p:spPr>
          <a:xfrm>
            <a:off x="6621709" y="3666866"/>
            <a:ext cx="487363" cy="487362"/>
          </a:xfrm>
          <a:prstGeom prst="rect">
            <a:avLst/>
          </a:prstGeom>
        </p:spPr>
      </p:pic>
      <p:pic>
        <p:nvPicPr>
          <p:cNvPr id="21" name="MHINT_16_20-N">
            <a:hlinkClick r:id="" action="ppaction://media"/>
          </p:cNvPr>
          <p:cNvPicPr>
            <a:picLocks noChangeAspect="1"/>
          </p:cNvPicPr>
          <p:nvPr>
            <a:audi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34"/>
          <a:stretch>
            <a:fillRect/>
          </a:stretch>
        </p:blipFill>
        <p:spPr>
          <a:xfrm>
            <a:off x="2672036" y="5353560"/>
            <a:ext cx="487363" cy="487363"/>
          </a:xfrm>
          <a:prstGeom prst="rect">
            <a:avLst/>
          </a:prstGeom>
        </p:spPr>
      </p:pic>
      <p:pic>
        <p:nvPicPr>
          <p:cNvPr id="22" name="MHINT_16_20-N">
            <a:hlinkClick r:id="" action="ppaction://media"/>
          </p:cNvPr>
          <p:cNvPicPr>
            <a:picLocks noChangeAspect="1"/>
          </p:cNvPicPr>
          <p:nvPr>
            <a:audioFile r:link="rId10"/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34"/>
          <a:stretch>
            <a:fillRect/>
          </a:stretch>
        </p:blipFill>
        <p:spPr>
          <a:xfrm>
            <a:off x="4640509" y="5332925"/>
            <a:ext cx="487363" cy="487363"/>
          </a:xfrm>
          <a:prstGeom prst="rect">
            <a:avLst/>
          </a:prstGeom>
        </p:spPr>
      </p:pic>
      <p:pic>
        <p:nvPicPr>
          <p:cNvPr id="23" name="KLT">
            <a:hlinkClick r:id="" action="ppaction://media"/>
          </p:cNvPr>
          <p:cNvPicPr>
            <a:picLocks noChangeAspect="1"/>
          </p:cNvPicPr>
          <p:nvPr>
            <a:audioFile r:link="rId12"/>
            <p:extLst>
              <p:ext uri="{DAA4B4D4-6D71-4841-9C94-3DE7FCFB9230}">
                <p14:media xmlns:p14="http://schemas.microsoft.com/office/powerpoint/2010/main" r:embed="rId11"/>
              </p:ext>
            </p:extLst>
          </p:nvPr>
        </p:nvPicPr>
        <p:blipFill>
          <a:blip r:embed="rId34"/>
          <a:stretch>
            <a:fillRect/>
          </a:stretch>
        </p:blipFill>
        <p:spPr>
          <a:xfrm>
            <a:off x="6621708" y="5343141"/>
            <a:ext cx="487362" cy="487362"/>
          </a:xfrm>
          <a:prstGeom prst="rect">
            <a:avLst/>
          </a:prstGeom>
        </p:spPr>
      </p:pic>
      <p:pic>
        <p:nvPicPr>
          <p:cNvPr id="25" name="HUMAN-2BABY-CRY-N">
            <a:hlinkClick r:id="" action="ppaction://media"/>
          </p:cNvPr>
          <p:cNvPicPr>
            <a:picLocks noChangeAspect="1"/>
          </p:cNvPicPr>
          <p:nvPr>
            <a:audioFile r:link="rId14"/>
            <p:extLst>
              <p:ext uri="{DAA4B4D4-6D71-4841-9C94-3DE7FCFB9230}">
                <p14:media xmlns:p14="http://schemas.microsoft.com/office/powerpoint/2010/main" r:embed="rId13"/>
              </p:ext>
            </p:extLst>
          </p:nvPr>
        </p:nvPicPr>
        <p:blipFill>
          <a:blip r:embed="rId34"/>
          <a:stretch>
            <a:fillRect/>
          </a:stretch>
        </p:blipFill>
        <p:spPr>
          <a:xfrm>
            <a:off x="4661605" y="1984401"/>
            <a:ext cx="487363" cy="487363"/>
          </a:xfrm>
          <a:prstGeom prst="rect">
            <a:avLst/>
          </a:prstGeom>
        </p:spPr>
      </p:pic>
      <p:pic>
        <p:nvPicPr>
          <p:cNvPr id="26" name="SIREN4-WAIL-FAST-N">
            <a:hlinkClick r:id="" action="ppaction://media"/>
          </p:cNvPr>
          <p:cNvPicPr>
            <a:picLocks noChangeAspect="1"/>
          </p:cNvPicPr>
          <p:nvPr>
            <a:audioFile r:link="rId16"/>
            <p:extLst>
              <p:ext uri="{DAA4B4D4-6D71-4841-9C94-3DE7FCFB9230}">
                <p14:media xmlns:p14="http://schemas.microsoft.com/office/powerpoint/2010/main" r:embed="rId15"/>
              </p:ext>
            </p:extLst>
          </p:nvPr>
        </p:nvPicPr>
        <p:blipFill>
          <a:blip r:embed="rId34"/>
          <a:stretch>
            <a:fillRect/>
          </a:stretch>
        </p:blipFill>
        <p:spPr>
          <a:xfrm>
            <a:off x="6634408" y="1984400"/>
            <a:ext cx="487362" cy="487362"/>
          </a:xfrm>
          <a:prstGeom prst="rect">
            <a:avLst/>
          </a:prstGeom>
        </p:spPr>
      </p:pic>
      <p:pic>
        <p:nvPicPr>
          <p:cNvPr id="27" name="MHINT_16_20-N">
            <a:hlinkClick r:id="" action="ppaction://media"/>
          </p:cNvPr>
          <p:cNvPicPr>
            <a:picLocks noChangeAspect="1"/>
          </p:cNvPicPr>
          <p:nvPr>
            <a:audioFile r:link="rId18"/>
            <p:extLst>
              <p:ext uri="{DAA4B4D4-6D71-4841-9C94-3DE7FCFB9230}">
                <p14:media xmlns:p14="http://schemas.microsoft.com/office/powerpoint/2010/main" r:embed="rId17"/>
              </p:ext>
            </p:extLst>
          </p:nvPr>
        </p:nvPicPr>
        <p:blipFill>
          <a:blip r:embed="rId34"/>
          <a:stretch>
            <a:fillRect/>
          </a:stretch>
        </p:blipFill>
        <p:spPr>
          <a:xfrm>
            <a:off x="2652979" y="1997101"/>
            <a:ext cx="487363" cy="487363"/>
          </a:xfrm>
          <a:prstGeom prst="rect">
            <a:avLst/>
          </a:prstGeom>
        </p:spPr>
      </p:pic>
      <p:cxnSp>
        <p:nvCxnSpPr>
          <p:cNvPr id="33" name="直線接點 32"/>
          <p:cNvCxnSpPr/>
          <p:nvPr/>
        </p:nvCxnSpPr>
        <p:spPr>
          <a:xfrm>
            <a:off x="8545452" y="1637222"/>
            <a:ext cx="1962457" cy="1630478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" name="baby_DDAE+dpf">
            <a:hlinkClick r:id="" action="ppaction://media"/>
          </p:cNvPr>
          <p:cNvPicPr>
            <a:picLocks noChangeAspect="1"/>
          </p:cNvPicPr>
          <p:nvPr>
            <a:audioFile r:link="rId20"/>
            <p:extLst>
              <p:ext uri="{DAA4B4D4-6D71-4841-9C94-3DE7FCFB9230}">
                <p14:media xmlns:p14="http://schemas.microsoft.com/office/powerpoint/2010/main" r:embed="rId19"/>
              </p:ext>
            </p:extLst>
          </p:nvPr>
        </p:nvPicPr>
        <p:blipFill>
          <a:blip r:embed="rId34"/>
          <a:stretch>
            <a:fillRect/>
          </a:stretch>
        </p:blipFill>
        <p:spPr>
          <a:xfrm>
            <a:off x="8562608" y="3639456"/>
            <a:ext cx="487362" cy="487362"/>
          </a:xfrm>
          <a:prstGeom prst="rect">
            <a:avLst/>
          </a:prstGeom>
        </p:spPr>
      </p:pic>
      <p:pic>
        <p:nvPicPr>
          <p:cNvPr id="28" name="圖片 27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8529708" y="5332924"/>
            <a:ext cx="1978200" cy="1334920"/>
          </a:xfrm>
          <a:prstGeom prst="rect">
            <a:avLst/>
          </a:prstGeom>
        </p:spPr>
      </p:pic>
      <p:pic>
        <p:nvPicPr>
          <p:cNvPr id="29" name="siren_DDAE+dpf">
            <a:hlinkClick r:id="" action="ppaction://media"/>
          </p:cNvPr>
          <p:cNvPicPr>
            <a:picLocks noChangeAspect="1"/>
          </p:cNvPicPr>
          <p:nvPr>
            <a:audioFile r:link="rId22"/>
            <p:extLst>
              <p:ext uri="{DAA4B4D4-6D71-4841-9C94-3DE7FCFB9230}">
                <p14:media xmlns:p14="http://schemas.microsoft.com/office/powerpoint/2010/main" r:embed="rId21"/>
              </p:ext>
            </p:extLst>
          </p:nvPr>
        </p:nvPicPr>
        <p:blipFill>
          <a:blip r:embed="rId34"/>
          <a:stretch>
            <a:fillRect/>
          </a:stretch>
        </p:blipFill>
        <p:spPr>
          <a:xfrm>
            <a:off x="8563335" y="5357828"/>
            <a:ext cx="487363" cy="487363"/>
          </a:xfrm>
          <a:prstGeom prst="rect">
            <a:avLst/>
          </a:prstGeom>
        </p:spPr>
      </p:pic>
      <p:sp>
        <p:nvSpPr>
          <p:cNvPr id="30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6076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780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1" dur="2790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2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6" dur="2784" fill="hold"/>
                                        <p:tgtEl>
                                          <p:spTgt spid="2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0"/>
                  </p:tgtEl>
                </p:cond>
              </p:nextCondLst>
            </p:seq>
            <p:audio>
              <p:cMediaNode vol="100000">
                <p:cTn id="1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8"/>
                </p:tgtEl>
              </p:cMediaNode>
            </p:audio>
            <p:audio>
              <p:cMediaNode vol="100000">
                <p:cTn id="1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9"/>
                </p:tgtEl>
              </p:cMediaNode>
            </p:audio>
            <p:audio>
              <p:cMediaNode vol="10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0"/>
                </p:tgtEl>
              </p:cMediaNode>
            </p:audio>
            <p:seq concurrent="1" nextAc="seek">
              <p:cTn id="20" restart="whenNotActive" fill="hold" evtFilter="cancelBubble" nodeType="interactiveSeq">
                <p:stCondLst>
                  <p:cond evt="onClick" delay="0">
                    <p:tgtEl>
                      <p:spTgt spid="2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1" fill="hold">
                      <p:stCondLst>
                        <p:cond delay="0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4" dur="2790" fill="hold"/>
                                        <p:tgtEl>
                                          <p:spTgt spid="2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1"/>
                  </p:tgtEl>
                </p:cond>
              </p:nextCondLst>
            </p:seq>
            <p:seq concurrent="1" nextAc="seek">
              <p:cTn id="25" restart="whenNotActive" fill="hold" evtFilter="cancelBubble" nodeType="interactiveSeq">
                <p:stCondLst>
                  <p:cond evt="onClick" delay="0">
                    <p:tgtEl>
                      <p:spTgt spid="2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6" fill="hold">
                      <p:stCondLst>
                        <p:cond delay="0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9" dur="2780" fill="hold"/>
                                        <p:tgtEl>
                                          <p:spTgt spid="2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2"/>
                  </p:tgtEl>
                </p:cond>
              </p:nextCondLst>
            </p:seq>
            <p:seq concurrent="1" nextAc="seek">
              <p:cTn id="30" restart="whenNotActive" fill="hold" evtFilter="cancelBubble" nodeType="interactiveSeq">
                <p:stCondLst>
                  <p:cond evt="onClick" delay="0">
                    <p:tgtEl>
                      <p:spTgt spid="2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1" fill="hold">
                      <p:stCondLst>
                        <p:cond delay="0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4" dur="2784" fill="hold"/>
                                        <p:tgtEl>
                                          <p:spTgt spid="2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3"/>
                  </p:tgtEl>
                </p:cond>
              </p:nextCondLst>
            </p:seq>
            <p:audio>
              <p:cMediaNode vol="80000">
                <p:cTn id="3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1"/>
                </p:tgtEl>
              </p:cMediaNode>
            </p:audio>
            <p:audio>
              <p:cMediaNode vol="80000">
                <p:cTn id="3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2"/>
                </p:tgtEl>
              </p:cMediaNode>
            </p:audio>
            <p:audio>
              <p:cMediaNode vol="80000">
                <p:cTn id="3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3"/>
                </p:tgtEl>
              </p:cMediaNode>
            </p:audio>
            <p:seq concurrent="1" nextAc="seek">
              <p:cTn id="38" restart="whenNotActive" fill="hold" evtFilter="cancelBubble" nodeType="interactiveSeq">
                <p:stCondLst>
                  <p:cond evt="onClick" delay="0">
                    <p:tgtEl>
                      <p:spTgt spid="2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9" fill="hold">
                      <p:stCondLst>
                        <p:cond delay="0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2" dur="31037" fill="hold"/>
                                        <p:tgtEl>
                                          <p:spTgt spid="2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5"/>
                  </p:tgtEl>
                </p:cond>
              </p:nextCondLst>
            </p:seq>
            <p:seq concurrent="1" nextAc="seek">
              <p:cTn id="43" restart="whenNotActive" fill="hold" evtFilter="cancelBubble" nodeType="interactiveSeq">
                <p:stCondLst>
                  <p:cond evt="onClick" delay="0">
                    <p:tgtEl>
                      <p:spTgt spid="2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4" fill="hold">
                      <p:stCondLst>
                        <p:cond delay="0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7" dur="26383" fill="hold"/>
                                        <p:tgtEl>
                                          <p:spTgt spid="2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6"/>
                  </p:tgtEl>
                </p:cond>
              </p:nextCondLst>
            </p:seq>
            <p:seq concurrent="1" nextAc="seek">
              <p:cTn id="48" restart="whenNotActive" fill="hold" evtFilter="cancelBubble" nodeType="interactiveSeq">
                <p:stCondLst>
                  <p:cond evt="onClick" delay="0">
                    <p:tgtEl>
                      <p:spTgt spid="2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9" fill="hold">
                      <p:stCondLst>
                        <p:cond delay="0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52" dur="2790" fill="hold"/>
                                        <p:tgtEl>
                                          <p:spTgt spid="2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7"/>
                  </p:tgtEl>
                </p:cond>
              </p:nextCondLst>
            </p:seq>
            <p:audio>
              <p:cMediaNode vol="80000">
                <p:cTn id="5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5"/>
                </p:tgtEl>
              </p:cMediaNode>
            </p:audio>
            <p:audio>
              <p:cMediaNode vol="80000">
                <p:cTn id="54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6"/>
                </p:tgtEl>
              </p:cMediaNode>
            </p:audio>
            <p:audio>
              <p:cMediaNode vol="80000">
                <p:cTn id="5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7"/>
                </p:tgtEl>
              </p:cMediaNode>
            </p:audio>
            <p:seq concurrent="1" nextAc="seek">
              <p:cTn id="56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57" fill="hold">
                      <p:stCondLst>
                        <p:cond delay="0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0" dur="2784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audio>
              <p:cMediaNode vol="80000">
                <p:cTn id="6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  <p:seq concurrent="1" nextAc="seek">
              <p:cTn id="62" restart="whenNotActive" fill="hold" evtFilter="cancelBubble" nodeType="interactiveSeq">
                <p:stCondLst>
                  <p:cond evt="onClick" delay="0">
                    <p:tgtEl>
                      <p:spTgt spid="2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63" fill="hold">
                      <p:stCondLst>
                        <p:cond delay="0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6" dur="2784" fill="hold"/>
                                        <p:tgtEl>
                                          <p:spTgt spid="2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9"/>
                  </p:tgtEl>
                </p:cond>
              </p:nextCondLst>
            </p:seq>
            <p:audio>
              <p:cMediaNode vol="80000">
                <p:cTn id="6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9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Some cool products/projects (3/4) </a:t>
            </a:r>
            <a:endParaRPr lang="zh-TW" altLang="en-US" dirty="0"/>
          </a:p>
        </p:txBody>
      </p:sp>
      <p:pic>
        <p:nvPicPr>
          <p:cNvPr id="6" name="Picture 2" descr="C:\Lab\paper\Dropbox\TFRI\LTSA result\Classify result\YLTPS soundscape event visualization.jpg"/>
          <p:cNvPicPr>
            <a:picLocks noGrp="1" noChangeAspect="1" noChangeArrowheads="1"/>
          </p:cNvPicPr>
          <p:nvPr>
            <p:ph idx="4294967295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47" r="9250"/>
          <a:stretch/>
        </p:blipFill>
        <p:spPr bwMode="auto">
          <a:xfrm>
            <a:off x="2927649" y="1930378"/>
            <a:ext cx="8325046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文字方塊 6"/>
          <p:cNvSpPr txBox="1"/>
          <p:nvPr/>
        </p:nvSpPr>
        <p:spPr>
          <a:xfrm>
            <a:off x="813332" y="2599545"/>
            <a:ext cx="1800000" cy="46166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zh-TW" altLang="en-US" b="1" dirty="0">
                <a:solidFill>
                  <a:srgbClr val="292934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宜蘭太平山</a:t>
            </a:r>
          </a:p>
        </p:txBody>
      </p:sp>
      <p:pic>
        <p:nvPicPr>
          <p:cNvPr id="9" name="Picture 4" descr="C:\Lab\paper\Dropbox\TFRI\LTSA result\Classify result\MLSY soundscape event visualization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90" r="8801"/>
          <a:stretch/>
        </p:blipFill>
        <p:spPr bwMode="auto">
          <a:xfrm>
            <a:off x="2898215" y="3934152"/>
            <a:ext cx="8383913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文字方塊 9"/>
          <p:cNvSpPr txBox="1"/>
          <p:nvPr/>
        </p:nvSpPr>
        <p:spPr>
          <a:xfrm>
            <a:off x="805330" y="4603319"/>
            <a:ext cx="1800000" cy="46166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zh-TW" altLang="en-US" b="1" dirty="0">
                <a:solidFill>
                  <a:srgbClr val="292934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苗栗三義</a:t>
            </a: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54487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Some cool products/projects (4/4) </a:t>
            </a:r>
            <a:endParaRPr lang="zh-TW" altLang="en-US" dirty="0"/>
          </a:p>
        </p:txBody>
      </p:sp>
      <p:sp>
        <p:nvSpPr>
          <p:cNvPr id="7" name="文字方塊 6"/>
          <p:cNvSpPr txBox="1"/>
          <p:nvPr/>
        </p:nvSpPr>
        <p:spPr>
          <a:xfrm>
            <a:off x="813332" y="2599545"/>
            <a:ext cx="1800000" cy="46166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zh-TW" altLang="en-US" b="1" dirty="0">
                <a:solidFill>
                  <a:srgbClr val="292934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宜蘭太平山</a:t>
            </a:r>
          </a:p>
        </p:txBody>
      </p:sp>
      <p:sp>
        <p:nvSpPr>
          <p:cNvPr id="10" name="文字方塊 9"/>
          <p:cNvSpPr txBox="1"/>
          <p:nvPr/>
        </p:nvSpPr>
        <p:spPr>
          <a:xfrm>
            <a:off x="805330" y="4603319"/>
            <a:ext cx="1800000" cy="46166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zh-TW" altLang="en-US" b="1" dirty="0">
                <a:solidFill>
                  <a:srgbClr val="292934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苗栗三義</a:t>
            </a: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pic>
        <p:nvPicPr>
          <p:cNvPr id="8" name="Picture 4" descr="C:\Lab\paper\Dropbox\TFRI\LTSA result\YLTPS_soundscape composition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74" t="4762" r="8418" b="-1"/>
          <a:stretch/>
        </p:blipFill>
        <p:spPr bwMode="auto">
          <a:xfrm>
            <a:off x="2926800" y="1930377"/>
            <a:ext cx="8984163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5" descr="C:\Lab\paper\Dropbox\TFRI\LTSA result\MLSY_soundscape composition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10" t="5145" r="8749"/>
          <a:stretch/>
        </p:blipFill>
        <p:spPr bwMode="auto">
          <a:xfrm>
            <a:off x="2912843" y="4011836"/>
            <a:ext cx="9159821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文字方塊 11"/>
          <p:cNvSpPr txBox="1"/>
          <p:nvPr/>
        </p:nvSpPr>
        <p:spPr>
          <a:xfrm>
            <a:off x="5015880" y="6088141"/>
            <a:ext cx="54321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TW" b="1" dirty="0">
                <a:solidFill>
                  <a:srgbClr val="292934"/>
                </a:solidFill>
                <a:latin typeface="+mn-lt"/>
              </a:rPr>
              <a:t>Averaged PSD of each sound event</a:t>
            </a:r>
            <a:endParaRPr lang="zh-TW" altLang="en-US" b="1" dirty="0">
              <a:solidFill>
                <a:srgbClr val="292934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00749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2529F"/>
      </a:accent1>
      <a:accent2>
        <a:srgbClr val="162E46"/>
      </a:accent2>
      <a:accent3>
        <a:srgbClr val="E4E4EF"/>
      </a:accent3>
      <a:accent4>
        <a:srgbClr val="D6953E"/>
      </a:accent4>
      <a:accent5>
        <a:srgbClr val="858588"/>
      </a:accent5>
      <a:accent6>
        <a:srgbClr val="B4BAD1"/>
      </a:accent6>
      <a:hlink>
        <a:srgbClr val="4276AA"/>
      </a:hlink>
      <a:folHlink>
        <a:srgbClr val="BFBFB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中庸">
  <a:themeElements>
    <a:clrScheme name="自訂 3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0E457D"/>
      </a:accent6>
      <a:hlink>
        <a:srgbClr val="0000FF"/>
      </a:hlink>
      <a:folHlink>
        <a:srgbClr val="6565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中庸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2529F"/>
      </a:accent1>
      <a:accent2>
        <a:srgbClr val="162E46"/>
      </a:accent2>
      <a:accent3>
        <a:srgbClr val="E4E4EF"/>
      </a:accent3>
      <a:accent4>
        <a:srgbClr val="D6953E"/>
      </a:accent4>
      <a:accent5>
        <a:srgbClr val="858588"/>
      </a:accent5>
      <a:accent6>
        <a:srgbClr val="B4BAD1"/>
      </a:accent6>
      <a:hlink>
        <a:srgbClr val="4276AA"/>
      </a:hlink>
      <a:folHlink>
        <a:srgbClr val="BFBFB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4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529F"/>
    </a:accent1>
    <a:accent2>
      <a:srgbClr val="162E46"/>
    </a:accent2>
    <a:accent3>
      <a:srgbClr val="E4E4EF"/>
    </a:accent3>
    <a:accent4>
      <a:srgbClr val="D6953E"/>
    </a:accent4>
    <a:accent5>
      <a:srgbClr val="858588"/>
    </a:accent5>
    <a:accent6>
      <a:srgbClr val="B4BAD1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529F"/>
    </a:accent1>
    <a:accent2>
      <a:srgbClr val="162E46"/>
    </a:accent2>
    <a:accent3>
      <a:srgbClr val="E4E4EF"/>
    </a:accent3>
    <a:accent4>
      <a:srgbClr val="D6953E"/>
    </a:accent4>
    <a:accent5>
      <a:srgbClr val="858588"/>
    </a:accent5>
    <a:accent6>
      <a:srgbClr val="B4BAD1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529F"/>
    </a:accent1>
    <a:accent2>
      <a:srgbClr val="162E46"/>
    </a:accent2>
    <a:accent3>
      <a:srgbClr val="E4E4EF"/>
    </a:accent3>
    <a:accent4>
      <a:srgbClr val="D6953E"/>
    </a:accent4>
    <a:accent5>
      <a:srgbClr val="858588"/>
    </a:accent5>
    <a:accent6>
      <a:srgbClr val="B4BAD1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529F"/>
    </a:accent1>
    <a:accent2>
      <a:srgbClr val="162E46"/>
    </a:accent2>
    <a:accent3>
      <a:srgbClr val="E4E4EF"/>
    </a:accent3>
    <a:accent4>
      <a:srgbClr val="D6953E"/>
    </a:accent4>
    <a:accent5>
      <a:srgbClr val="858588"/>
    </a:accent5>
    <a:accent6>
      <a:srgbClr val="B4BAD1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529F"/>
    </a:accent1>
    <a:accent2>
      <a:srgbClr val="162E46"/>
    </a:accent2>
    <a:accent3>
      <a:srgbClr val="E4E4EF"/>
    </a:accent3>
    <a:accent4>
      <a:srgbClr val="D6953E"/>
    </a:accent4>
    <a:accent5>
      <a:srgbClr val="858588"/>
    </a:accent5>
    <a:accent6>
      <a:srgbClr val="B4BAD1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佈景主題1</Template>
  <TotalTime>21168</TotalTime>
  <Words>1872</Words>
  <Application>Microsoft Office PowerPoint</Application>
  <PresentationFormat>寬螢幕</PresentationFormat>
  <Paragraphs>344</Paragraphs>
  <Slides>36</Slides>
  <Notes>3</Notes>
  <HiddenSlides>0</HiddenSlides>
  <MMClips>22</MMClips>
  <ScaleCrop>false</ScaleCrop>
  <HeadingPairs>
    <vt:vector size="8" baseType="variant">
      <vt:variant>
        <vt:lpstr>使用字型</vt:lpstr>
      </vt:variant>
      <vt:variant>
        <vt:i4>14</vt:i4>
      </vt:variant>
      <vt:variant>
        <vt:lpstr>佈景主題</vt:lpstr>
      </vt:variant>
      <vt:variant>
        <vt:i4>3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36</vt:i4>
      </vt:variant>
    </vt:vector>
  </HeadingPairs>
  <TitlesOfParts>
    <vt:vector size="54" baseType="lpstr">
      <vt:lpstr>Arial Unicode MS</vt:lpstr>
      <vt:lpstr>Carlito</vt:lpstr>
      <vt:lpstr>微软雅黑</vt:lpstr>
      <vt:lpstr>黑体</vt:lpstr>
      <vt:lpstr>微軟正黑體</vt:lpstr>
      <vt:lpstr>新細明體</vt:lpstr>
      <vt:lpstr>標楷體</vt:lpstr>
      <vt:lpstr>Arial</vt:lpstr>
      <vt:lpstr>Calibri</vt:lpstr>
      <vt:lpstr>Cambria Math</vt:lpstr>
      <vt:lpstr>Impact</vt:lpstr>
      <vt:lpstr>Times New Roman</vt:lpstr>
      <vt:lpstr>Wingdings</vt:lpstr>
      <vt:lpstr>Wingdings 2</vt:lpstr>
      <vt:lpstr>主题5</vt:lpstr>
      <vt:lpstr>中庸</vt:lpstr>
      <vt:lpstr>1_主题5</vt:lpstr>
      <vt:lpstr>think-cell Slide</vt:lpstr>
      <vt:lpstr>數位信號處理實驗 (DSP)</vt:lpstr>
      <vt:lpstr>課程規範 (1/2)</vt:lpstr>
      <vt:lpstr>課程規範 (2/2)</vt:lpstr>
      <vt:lpstr>時程規劃與配分</vt:lpstr>
      <vt:lpstr>Signal Processing</vt:lpstr>
      <vt:lpstr>Some cool products/projects (1/4)</vt:lpstr>
      <vt:lpstr>Some cool products/projects (2/4) </vt:lpstr>
      <vt:lpstr>Some cool products/projects (3/4) </vt:lpstr>
      <vt:lpstr>Some cool products/projects (4/4) </vt:lpstr>
      <vt:lpstr>Our Recent Achievements</vt:lpstr>
      <vt:lpstr>NOISE</vt:lpstr>
      <vt:lpstr>Introduction</vt:lpstr>
      <vt:lpstr>Introduction</vt:lpstr>
      <vt:lpstr>Introduction</vt:lpstr>
      <vt:lpstr>Introduction – Filtering Techniques</vt:lpstr>
      <vt:lpstr>System Algorithm</vt:lpstr>
      <vt:lpstr>Case Study</vt:lpstr>
      <vt:lpstr>Wiener filter: Theory and Experiments</vt:lpstr>
      <vt:lpstr>Suggestions</vt:lpstr>
      <vt:lpstr>ECHO</vt:lpstr>
      <vt:lpstr>Outline</vt:lpstr>
      <vt:lpstr>Introduction (1/2)</vt:lpstr>
      <vt:lpstr>Introduction (2/2)</vt:lpstr>
      <vt:lpstr>Room Impulse Response Generator</vt:lpstr>
      <vt:lpstr>Room Impulse Response Generator (1/7)</vt:lpstr>
      <vt:lpstr>Room Impulse Response Generator (2/7)</vt:lpstr>
      <vt:lpstr>Room Impulse Response Generator (3/7)</vt:lpstr>
      <vt:lpstr>Room Impulse Response Generator (4/7)</vt:lpstr>
      <vt:lpstr>Room Impulse Response Generator (5/7)</vt:lpstr>
      <vt:lpstr>Room Impulse Response Generator (6/7)</vt:lpstr>
      <vt:lpstr>Room Impulse Response Generator (7/7)</vt:lpstr>
      <vt:lpstr>Least Mean Square Algorithm</vt:lpstr>
      <vt:lpstr>System Architecture</vt:lpstr>
      <vt:lpstr>Algorithm</vt:lpstr>
      <vt:lpstr>Mean squared error (均方差，MSE)</vt:lpstr>
      <vt:lpstr>Mean squared error (均方差，MSE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TLAB© 簡介</dc:title>
  <dc:creator>林峰毅</dc:creator>
  <cp:lastModifiedBy>林楷桐</cp:lastModifiedBy>
  <cp:revision>574</cp:revision>
  <cp:lastPrinted>2020-09-24T04:17:42Z</cp:lastPrinted>
  <dcterms:created xsi:type="dcterms:W3CDTF">2000-07-16T03:35:59Z</dcterms:created>
  <dcterms:modified xsi:type="dcterms:W3CDTF">2022-12-20T06:03:10Z</dcterms:modified>
</cp:coreProperties>
</file>